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6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47" r:id="rId4"/>
  </p:sldMasterIdLst>
  <p:notesMasterIdLst>
    <p:notesMasterId r:id="rId15"/>
  </p:notesMasterIdLst>
  <p:handoutMasterIdLst>
    <p:handoutMasterId r:id="rId16"/>
  </p:handoutMasterIdLst>
  <p:sldIdLst>
    <p:sldId id="2139119144" r:id="rId5"/>
    <p:sldId id="288" r:id="rId6"/>
    <p:sldId id="2139119145" r:id="rId7"/>
    <p:sldId id="2139119147" r:id="rId8"/>
    <p:sldId id="2139119167" r:id="rId9"/>
    <p:sldId id="260" r:id="rId10"/>
    <p:sldId id="2139119175" r:id="rId11"/>
    <p:sldId id="2139119138" r:id="rId12"/>
    <p:sldId id="2139119172" r:id="rId13"/>
    <p:sldId id="2139119148" r:id="rId14"/>
  </p:sldIdLst>
  <p:sldSz cx="12192000" cy="6858000"/>
  <p:notesSz cx="6858000" cy="9144000"/>
  <p:custShowLst>
    <p:custShow name="10 minute version" id="0">
      <p:sldLst/>
    </p:custShow>
    <p:custShow name="5 Min Version" id="1">
      <p:sldLst/>
    </p:custShow>
  </p:custShowLst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IPDS Corp Overview" id="{AA1C1E17-E372-4EAF-8977-52D5B44FE3AD}">
          <p14:sldIdLst>
            <p14:sldId id="2139119144"/>
            <p14:sldId id="288"/>
            <p14:sldId id="2139119145"/>
            <p14:sldId id="2139119147"/>
            <p14:sldId id="2139119167"/>
            <p14:sldId id="260"/>
            <p14:sldId id="2139119175"/>
            <p14:sldId id="2139119138"/>
            <p14:sldId id="2139119172"/>
            <p14:sldId id="2139119148"/>
          </p14:sldIdLst>
        </p14:section>
        <p14:section name="IPDS Icon Library" id="{8A7095CC-422E-4F27-9CF9-F951D5EF2F52}">
          <p14:sldIdLst/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Shutes" initials="CS" lastIdx="65" clrIdx="0">
    <p:extLst>
      <p:ext uri="{19B8F6BF-5375-455C-9EA6-DF929625EA0E}">
        <p15:presenceInfo xmlns:p15="http://schemas.microsoft.com/office/powerpoint/2012/main" userId="S::cshutes@commvault.com::b38ac655-ac8e-4b0a-80f5-89fab2e20854" providerId="AD"/>
      </p:ext>
    </p:extLst>
  </p:cmAuthor>
  <p:cmAuthor id="2" name="Ingrid Mengdehl" initials="IM" lastIdx="43" clrIdx="1">
    <p:extLst>
      <p:ext uri="{19B8F6BF-5375-455C-9EA6-DF929625EA0E}">
        <p15:presenceInfo xmlns:p15="http://schemas.microsoft.com/office/powerpoint/2012/main" userId="S::ingrid.mengdehl@brightcarbon.com::3c7dcee0-4664-4784-a557-cd881a686704" providerId="AD"/>
      </p:ext>
    </p:extLst>
  </p:cmAuthor>
  <p:cmAuthor id="3" name="Thomas White" initials="TW" lastIdx="8" clrIdx="2">
    <p:extLst>
      <p:ext uri="{19B8F6BF-5375-455C-9EA6-DF929625EA0E}">
        <p15:presenceInfo xmlns:p15="http://schemas.microsoft.com/office/powerpoint/2012/main" userId="S::tom.white@brightcarbon.com::656cad3a-c76a-4384-be97-99e13bf89d76" providerId="AD"/>
      </p:ext>
    </p:extLst>
  </p:cmAuthor>
  <p:cmAuthor id="4" name="Jamie Garroch" initials="JSG" lastIdx="8" clrIdx="3">
    <p:extLst>
      <p:ext uri="{19B8F6BF-5375-455C-9EA6-DF929625EA0E}">
        <p15:presenceInfo xmlns:p15="http://schemas.microsoft.com/office/powerpoint/2012/main" userId="Jamie Garroch" providerId="None"/>
      </p:ext>
    </p:extLst>
  </p:cmAuthor>
  <p:cmAuthor id="5" name="Sarah Stepic" initials="SS" lastIdx="1" clrIdx="4">
    <p:extLst>
      <p:ext uri="{19B8F6BF-5375-455C-9EA6-DF929625EA0E}">
        <p15:presenceInfo xmlns:p15="http://schemas.microsoft.com/office/powerpoint/2012/main" userId="S::sstepic@commvault.com::553d360e-6143-47f1-a66a-eefe5c5375ab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5757"/>
    <a:srgbClr val="8C52FF"/>
    <a:srgbClr val="4567F0"/>
    <a:srgbClr val="004AAD"/>
    <a:srgbClr val="5E17EB"/>
    <a:srgbClr val="C63939"/>
    <a:srgbClr val="2D3337"/>
    <a:srgbClr val="33393D"/>
    <a:srgbClr val="383E42"/>
    <a:srgbClr val="3894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9D7B26C5-4107-4FEC-AEDC-1716B250A1EF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75" d="100"/>
          <a:sy n="75" d="100"/>
        </p:scale>
        <p:origin x="300" y="-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BE70620-3DA0-4718-9BF3-7EADE3B0BCC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B912D85-5A66-4541-BEDF-44CCE2AB225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88C294-465F-4044-9465-73F844BEB890}" type="datetimeFigureOut">
              <a:rPr lang="en-GB" smtClean="0"/>
              <a:t>03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9D21AC0-9B6F-4DF6-B7C8-C3E01ACDA9F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AA24972-5BC6-4BD7-A543-7B13CB47097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4303F6-3AFB-4D99-9A16-ECEE3FFBC69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62654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1864E45-9B19-FF42-BE3F-19B91AF1DBAA}" type="datetimeFigureOut">
              <a:rPr lang="en-US" smtClean="0"/>
              <a:t>4/3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46AD59-5D6D-464A-8DDD-D5D7AA7CA9A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96309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268E1E-0E44-426D-905E-8AD9B19D2182}" type="datetimeFigureOut">
              <a:rPr lang="cs-CZ" smtClean="0"/>
              <a:t>03.04.2024</a:t>
            </a:fld>
            <a:endParaRPr lang="cs-CZ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71B2431-D351-4C6E-A3CF-9DFAC0E3E050}" type="slidenum">
              <a:rPr lang="cs-CZ" smtClean="0"/>
              <a:t>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31085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350B08-6050-1DC4-6856-8E447F0136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672A1B-69EB-6094-94AC-3C823085AC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634262-557A-0AD8-B389-F82855F09B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6A7A2B-46FB-0327-01AF-59201AA93B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46AD59-5D6D-464A-8DDD-D5D7AA7CA9A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8047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C350B08-6050-1DC4-6856-8E447F0136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9672A1B-69EB-6094-94AC-3C823085ACA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F634262-557A-0AD8-B389-F82855F09B0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76A7A2B-46FB-0327-01AF-59201AA93B7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D46AD59-5D6D-464A-8DDD-D5D7AA7CA9A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83112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26" Type="http://schemas.openxmlformats.org/officeDocument/2006/relationships/image" Target="../media/image26.png"/><Relationship Id="rId39" Type="http://schemas.openxmlformats.org/officeDocument/2006/relationships/image" Target="../media/image39.png"/><Relationship Id="rId21" Type="http://schemas.openxmlformats.org/officeDocument/2006/relationships/image" Target="../media/image21.png"/><Relationship Id="rId34" Type="http://schemas.openxmlformats.org/officeDocument/2006/relationships/image" Target="../media/image34.png"/><Relationship Id="rId42" Type="http://schemas.openxmlformats.org/officeDocument/2006/relationships/image" Target="../media/image42.png"/><Relationship Id="rId47" Type="http://schemas.openxmlformats.org/officeDocument/2006/relationships/image" Target="../media/image47.png"/><Relationship Id="rId50" Type="http://schemas.openxmlformats.org/officeDocument/2006/relationships/image" Target="../media/image50.png"/><Relationship Id="rId55" Type="http://schemas.openxmlformats.org/officeDocument/2006/relationships/image" Target="../media/image55.png"/><Relationship Id="rId63" Type="http://schemas.openxmlformats.org/officeDocument/2006/relationships/image" Target="../media/image6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6" Type="http://schemas.openxmlformats.org/officeDocument/2006/relationships/image" Target="../media/image16.png"/><Relationship Id="rId29" Type="http://schemas.openxmlformats.org/officeDocument/2006/relationships/image" Target="../media/image29.png"/><Relationship Id="rId11" Type="http://schemas.openxmlformats.org/officeDocument/2006/relationships/image" Target="../media/image11.png"/><Relationship Id="rId24" Type="http://schemas.openxmlformats.org/officeDocument/2006/relationships/image" Target="../media/image24.png"/><Relationship Id="rId32" Type="http://schemas.openxmlformats.org/officeDocument/2006/relationships/image" Target="../media/image32.png"/><Relationship Id="rId37" Type="http://schemas.openxmlformats.org/officeDocument/2006/relationships/image" Target="../media/image37.png"/><Relationship Id="rId40" Type="http://schemas.openxmlformats.org/officeDocument/2006/relationships/image" Target="../media/image40.png"/><Relationship Id="rId45" Type="http://schemas.openxmlformats.org/officeDocument/2006/relationships/image" Target="../media/image45.png"/><Relationship Id="rId53" Type="http://schemas.openxmlformats.org/officeDocument/2006/relationships/image" Target="../media/image53.png"/><Relationship Id="rId58" Type="http://schemas.openxmlformats.org/officeDocument/2006/relationships/image" Target="../media/image58.png"/><Relationship Id="rId5" Type="http://schemas.openxmlformats.org/officeDocument/2006/relationships/image" Target="../media/image5.png"/><Relationship Id="rId61" Type="http://schemas.openxmlformats.org/officeDocument/2006/relationships/image" Target="../media/image61.png"/><Relationship Id="rId19" Type="http://schemas.openxmlformats.org/officeDocument/2006/relationships/image" Target="../media/image19.png"/><Relationship Id="rId14" Type="http://schemas.openxmlformats.org/officeDocument/2006/relationships/image" Target="../media/image14.png"/><Relationship Id="rId22" Type="http://schemas.openxmlformats.org/officeDocument/2006/relationships/image" Target="../media/image22.png"/><Relationship Id="rId27" Type="http://schemas.openxmlformats.org/officeDocument/2006/relationships/image" Target="../media/image27.png"/><Relationship Id="rId30" Type="http://schemas.openxmlformats.org/officeDocument/2006/relationships/image" Target="../media/image30.png"/><Relationship Id="rId35" Type="http://schemas.openxmlformats.org/officeDocument/2006/relationships/image" Target="../media/image35.png"/><Relationship Id="rId43" Type="http://schemas.openxmlformats.org/officeDocument/2006/relationships/image" Target="../media/image43.png"/><Relationship Id="rId48" Type="http://schemas.openxmlformats.org/officeDocument/2006/relationships/image" Target="../media/image48.png"/><Relationship Id="rId56" Type="http://schemas.openxmlformats.org/officeDocument/2006/relationships/image" Target="../media/image56.png"/><Relationship Id="rId64" Type="http://schemas.openxmlformats.org/officeDocument/2006/relationships/image" Target="../media/image64.png"/><Relationship Id="rId8" Type="http://schemas.openxmlformats.org/officeDocument/2006/relationships/image" Target="../media/image8.png"/><Relationship Id="rId51" Type="http://schemas.openxmlformats.org/officeDocument/2006/relationships/image" Target="../media/image51.png"/><Relationship Id="rId3" Type="http://schemas.openxmlformats.org/officeDocument/2006/relationships/image" Target="../media/image3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5" Type="http://schemas.openxmlformats.org/officeDocument/2006/relationships/image" Target="../media/image25.png"/><Relationship Id="rId33" Type="http://schemas.openxmlformats.org/officeDocument/2006/relationships/image" Target="../media/image33.png"/><Relationship Id="rId38" Type="http://schemas.openxmlformats.org/officeDocument/2006/relationships/image" Target="../media/image38.png"/><Relationship Id="rId46" Type="http://schemas.openxmlformats.org/officeDocument/2006/relationships/image" Target="../media/image46.png"/><Relationship Id="rId59" Type="http://schemas.openxmlformats.org/officeDocument/2006/relationships/image" Target="../media/image59.png"/><Relationship Id="rId20" Type="http://schemas.openxmlformats.org/officeDocument/2006/relationships/image" Target="../media/image20.png"/><Relationship Id="rId41" Type="http://schemas.openxmlformats.org/officeDocument/2006/relationships/image" Target="../media/image41.png"/><Relationship Id="rId54" Type="http://schemas.openxmlformats.org/officeDocument/2006/relationships/image" Target="../media/image54.png"/><Relationship Id="rId62" Type="http://schemas.openxmlformats.org/officeDocument/2006/relationships/image" Target="../media/image6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15" Type="http://schemas.openxmlformats.org/officeDocument/2006/relationships/image" Target="../media/image15.png"/><Relationship Id="rId23" Type="http://schemas.openxmlformats.org/officeDocument/2006/relationships/image" Target="../media/image23.png"/><Relationship Id="rId28" Type="http://schemas.openxmlformats.org/officeDocument/2006/relationships/image" Target="../media/image28.png"/><Relationship Id="rId36" Type="http://schemas.openxmlformats.org/officeDocument/2006/relationships/image" Target="../media/image36.png"/><Relationship Id="rId49" Type="http://schemas.openxmlformats.org/officeDocument/2006/relationships/image" Target="../media/image49.png"/><Relationship Id="rId57" Type="http://schemas.openxmlformats.org/officeDocument/2006/relationships/image" Target="../media/image57.png"/><Relationship Id="rId10" Type="http://schemas.openxmlformats.org/officeDocument/2006/relationships/image" Target="../media/image10.png"/><Relationship Id="rId31" Type="http://schemas.openxmlformats.org/officeDocument/2006/relationships/image" Target="../media/image31.png"/><Relationship Id="rId44" Type="http://schemas.openxmlformats.org/officeDocument/2006/relationships/image" Target="../media/image44.png"/><Relationship Id="rId52" Type="http://schemas.openxmlformats.org/officeDocument/2006/relationships/image" Target="../media/image52.png"/><Relationship Id="rId60" Type="http://schemas.openxmlformats.org/officeDocument/2006/relationships/image" Target="../media/image60.png"/><Relationship Id="rId4" Type="http://schemas.openxmlformats.org/officeDocument/2006/relationships/image" Target="../media/image4.png"/><Relationship Id="rId9" Type="http://schemas.openxmlformats.org/officeDocument/2006/relationships/image" Target="../media/image9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31.xml"/><Relationship Id="rId7" Type="http://schemas.openxmlformats.org/officeDocument/2006/relationships/image" Target="../media/image71.jpeg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34.xml"/><Relationship Id="rId7" Type="http://schemas.openxmlformats.org/officeDocument/2006/relationships/image" Target="../media/image72.jpeg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37.xml"/><Relationship Id="rId7" Type="http://schemas.openxmlformats.org/officeDocument/2006/relationships/image" Target="../media/image73.jpeg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66.png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7" Type="http://schemas.openxmlformats.org/officeDocument/2006/relationships/image" Target="../media/image66.png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66.png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66.png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7" Type="http://schemas.openxmlformats.org/officeDocument/2006/relationships/image" Target="../media/image66.png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7.xml"/><Relationship Id="rId7" Type="http://schemas.openxmlformats.org/officeDocument/2006/relationships/image" Target="../media/image65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66.png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7" Type="http://schemas.openxmlformats.org/officeDocument/2006/relationships/image" Target="../media/image66.png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7" Type="http://schemas.openxmlformats.org/officeDocument/2006/relationships/image" Target="../media/image66.png"/><Relationship Id="rId2" Type="http://schemas.openxmlformats.org/officeDocument/2006/relationships/tags" Target="../tags/tag61.xml"/><Relationship Id="rId1" Type="http://schemas.openxmlformats.org/officeDocument/2006/relationships/tags" Target="../tags/tag6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7" Type="http://schemas.openxmlformats.org/officeDocument/2006/relationships/image" Target="../media/image66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7" Type="http://schemas.openxmlformats.org/officeDocument/2006/relationships/image" Target="../media/image66.png"/><Relationship Id="rId2" Type="http://schemas.openxmlformats.org/officeDocument/2006/relationships/tags" Target="../tags/tag67.xml"/><Relationship Id="rId1" Type="http://schemas.openxmlformats.org/officeDocument/2006/relationships/tags" Target="../tags/tag6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66.png"/><Relationship Id="rId2" Type="http://schemas.openxmlformats.org/officeDocument/2006/relationships/tags" Target="../tags/tag70.xml"/><Relationship Id="rId1" Type="http://schemas.openxmlformats.org/officeDocument/2006/relationships/tags" Target="../tags/tag6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66.pn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7" Type="http://schemas.openxmlformats.org/officeDocument/2006/relationships/image" Target="../media/image66.png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66.png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7" Type="http://schemas.openxmlformats.org/officeDocument/2006/relationships/image" Target="../media/image66.png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10.xml"/><Relationship Id="rId7" Type="http://schemas.openxmlformats.org/officeDocument/2006/relationships/image" Target="../media/image67.jpeg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7" Type="http://schemas.openxmlformats.org/officeDocument/2006/relationships/image" Target="../media/image66.png"/><Relationship Id="rId2" Type="http://schemas.openxmlformats.org/officeDocument/2006/relationships/tags" Target="../tags/tag85.xml"/><Relationship Id="rId1" Type="http://schemas.openxmlformats.org/officeDocument/2006/relationships/tags" Target="../tags/tag8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7" Type="http://schemas.openxmlformats.org/officeDocument/2006/relationships/image" Target="../media/image66.png"/><Relationship Id="rId2" Type="http://schemas.openxmlformats.org/officeDocument/2006/relationships/tags" Target="../tags/tag88.xml"/><Relationship Id="rId1" Type="http://schemas.openxmlformats.org/officeDocument/2006/relationships/tags" Target="../tags/tag8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66.png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95.xml"/><Relationship Id="rId7" Type="http://schemas.openxmlformats.org/officeDocument/2006/relationships/image" Target="../media/image66.png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7" Type="http://schemas.openxmlformats.org/officeDocument/2006/relationships/image" Target="../media/image66.png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66.png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66.pn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66.png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image" Target="../media/image66.png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66.png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13.xml"/><Relationship Id="rId7" Type="http://schemas.openxmlformats.org/officeDocument/2006/relationships/image" Target="../media/image65.jpeg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7" Type="http://schemas.openxmlformats.org/officeDocument/2006/relationships/image" Target="../media/image66.png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66.png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122.xml"/><Relationship Id="rId7" Type="http://schemas.openxmlformats.org/officeDocument/2006/relationships/image" Target="../media/image1.emf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6" Type="http://schemas.openxmlformats.org/officeDocument/2006/relationships/oleObject" Target="../embeddings/oleObject40.bin"/><Relationship Id="rId5" Type="http://schemas.openxmlformats.org/officeDocument/2006/relationships/image" Target="../media/image75.png"/><Relationship Id="rId4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125.xml"/><Relationship Id="rId7" Type="http://schemas.openxmlformats.org/officeDocument/2006/relationships/image" Target="../media/image1.emf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oleObject" Target="../embeddings/oleObject41.bin"/><Relationship Id="rId5" Type="http://schemas.openxmlformats.org/officeDocument/2006/relationships/image" Target="../media/image75.png"/><Relationship Id="rId4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128.xml"/><Relationship Id="rId7" Type="http://schemas.openxmlformats.org/officeDocument/2006/relationships/image" Target="../media/image1.emf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6" Type="http://schemas.openxmlformats.org/officeDocument/2006/relationships/oleObject" Target="../embeddings/oleObject42.bin"/><Relationship Id="rId5" Type="http://schemas.openxmlformats.org/officeDocument/2006/relationships/image" Target="../media/image75.png"/><Relationship Id="rId4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131.xml"/><Relationship Id="rId7" Type="http://schemas.openxmlformats.org/officeDocument/2006/relationships/image" Target="../media/image75.png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3.xml"/><Relationship Id="rId4" Type="http://schemas.openxmlformats.org/officeDocument/2006/relationships/image" Target="../media/image66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4.xml"/><Relationship Id="rId4" Type="http://schemas.openxmlformats.org/officeDocument/2006/relationships/image" Target="../media/image66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137.xml"/><Relationship Id="rId7" Type="http://schemas.openxmlformats.org/officeDocument/2006/relationships/image" Target="../media/image1.emf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oleObject" Target="../embeddings/oleObject44.bin"/><Relationship Id="rId5" Type="http://schemas.openxmlformats.org/officeDocument/2006/relationships/image" Target="../media/image77.pn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.xml"/><Relationship Id="rId7" Type="http://schemas.openxmlformats.org/officeDocument/2006/relationships/oleObject" Target="../embeddings/oleObject5.bin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69.png"/><Relationship Id="rId5" Type="http://schemas.openxmlformats.org/officeDocument/2006/relationships/image" Target="../media/image68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6.png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140.xml"/><Relationship Id="rId7" Type="http://schemas.openxmlformats.org/officeDocument/2006/relationships/image" Target="../media/image1.emf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oleObject" Target="../embeddings/oleObject45.bin"/><Relationship Id="rId5" Type="http://schemas.openxmlformats.org/officeDocument/2006/relationships/image" Target="../media/image77.png"/><Relationship Id="rId4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1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145.xml"/><Relationship Id="rId7" Type="http://schemas.openxmlformats.org/officeDocument/2006/relationships/image" Target="../media/image75.png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7" Type="http://schemas.openxmlformats.org/officeDocument/2006/relationships/image" Target="../media/image66.png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66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ipds.com/" TargetMode="External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7.xml"/><Relationship Id="rId4" Type="http://schemas.openxmlformats.org/officeDocument/2006/relationships/image" Target="../media/image78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66.png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25.xml"/><Relationship Id="rId7" Type="http://schemas.openxmlformats.org/officeDocument/2006/relationships/image" Target="../media/image67.jpe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6.png"/><Relationship Id="rId3" Type="http://schemas.openxmlformats.org/officeDocument/2006/relationships/tags" Target="../tags/tag28.xml"/><Relationship Id="rId7" Type="http://schemas.openxmlformats.org/officeDocument/2006/relationships/image" Target="../media/image70.jpe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PDS Official Icon Libra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83DF0D4A-19F0-E76B-F13F-7F20DC20E8B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09555" y="2135630"/>
            <a:ext cx="834438" cy="834438"/>
          </a:xfrm>
          <a:prstGeom prst="rect">
            <a:avLst/>
          </a:prstGeom>
        </p:spPr>
      </p:pic>
      <p:pic>
        <p:nvPicPr>
          <p:cNvPr id="6" name="Picture 5" descr="Logo, icon&#10;&#10;Description automatically generated">
            <a:extLst>
              <a:ext uri="{FF2B5EF4-FFF2-40B4-BE49-F238E27FC236}">
                <a16:creationId xmlns:a16="http://schemas.microsoft.com/office/drawing/2014/main" id="{66B3AA76-C8F8-7E15-8E8A-504AA0E01D89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75677" y="3366614"/>
            <a:ext cx="834438" cy="834438"/>
          </a:xfrm>
          <a:prstGeom prst="rect">
            <a:avLst/>
          </a:prstGeom>
        </p:spPr>
      </p:pic>
      <p:pic>
        <p:nvPicPr>
          <p:cNvPr id="8" name="Picture 7" descr="Icon&#10;&#10;Description automatically generated">
            <a:extLst>
              <a:ext uri="{FF2B5EF4-FFF2-40B4-BE49-F238E27FC236}">
                <a16:creationId xmlns:a16="http://schemas.microsoft.com/office/drawing/2014/main" id="{54B8805D-87B0-362D-70D6-580BC845365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6260160" y="904646"/>
            <a:ext cx="834438" cy="834438"/>
          </a:xfrm>
          <a:prstGeom prst="rect">
            <a:avLst/>
          </a:prstGeom>
        </p:spPr>
      </p:pic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15CC1A01-09EB-3E57-9E00-7486056D83E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5250039" y="904646"/>
            <a:ext cx="834438" cy="834438"/>
          </a:xfrm>
          <a:prstGeom prst="rect">
            <a:avLst/>
          </a:prstGeom>
        </p:spPr>
      </p:pic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BE982ED0-6181-2572-AE76-36E8E699FE88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239918" y="904646"/>
            <a:ext cx="834438" cy="834438"/>
          </a:xfrm>
          <a:prstGeom prst="rect">
            <a:avLst/>
          </a:prstGeom>
        </p:spPr>
      </p:pic>
      <p:pic>
        <p:nvPicPr>
          <p:cNvPr id="14" name="Picture 13" descr="A picture containing text, sign, vector graphics&#10;&#10;Description automatically generated">
            <a:extLst>
              <a:ext uri="{FF2B5EF4-FFF2-40B4-BE49-F238E27FC236}">
                <a16:creationId xmlns:a16="http://schemas.microsoft.com/office/drawing/2014/main" id="{4088D5C9-81B4-FC05-6C0A-76903AF04BB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270281" y="2135630"/>
            <a:ext cx="834438" cy="834438"/>
          </a:xfrm>
          <a:prstGeom prst="rect">
            <a:avLst/>
          </a:prstGeom>
        </p:spPr>
      </p:pic>
      <p:pic>
        <p:nvPicPr>
          <p:cNvPr id="16" name="Picture 15" descr="Logo, icon&#10;&#10;Description automatically generated">
            <a:extLst>
              <a:ext uri="{FF2B5EF4-FFF2-40B4-BE49-F238E27FC236}">
                <a16:creationId xmlns:a16="http://schemas.microsoft.com/office/drawing/2014/main" id="{0B09E6FC-4BF2-3AF5-0A1A-826C0EF83E08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99434" y="2135630"/>
            <a:ext cx="834438" cy="834438"/>
          </a:xfrm>
          <a:prstGeom prst="rect">
            <a:avLst/>
          </a:prstGeom>
        </p:spPr>
      </p:pic>
      <p:pic>
        <p:nvPicPr>
          <p:cNvPr id="18" name="Picture 17" descr="Icon&#10;&#10;Description automatically generated">
            <a:extLst>
              <a:ext uri="{FF2B5EF4-FFF2-40B4-BE49-F238E27FC236}">
                <a16:creationId xmlns:a16="http://schemas.microsoft.com/office/drawing/2014/main" id="{C706C004-C50C-9374-2930-80849C061DA9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3229797" y="904646"/>
            <a:ext cx="834438" cy="834438"/>
          </a:xfrm>
          <a:prstGeom prst="rect">
            <a:avLst/>
          </a:prstGeom>
        </p:spPr>
      </p:pic>
      <p:pic>
        <p:nvPicPr>
          <p:cNvPr id="20" name="Picture 19" descr="Icon&#10;&#10;Description automatically generated">
            <a:extLst>
              <a:ext uri="{FF2B5EF4-FFF2-40B4-BE49-F238E27FC236}">
                <a16:creationId xmlns:a16="http://schemas.microsoft.com/office/drawing/2014/main" id="{AB2159DB-05A9-386E-B584-3F6C0E756AD1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2219676" y="904646"/>
            <a:ext cx="834438" cy="834438"/>
          </a:xfrm>
          <a:prstGeom prst="rect">
            <a:avLst/>
          </a:prstGeom>
        </p:spPr>
      </p:pic>
      <p:pic>
        <p:nvPicPr>
          <p:cNvPr id="22" name="Picture 21" descr="Icon&#10;&#10;Description automatically generated">
            <a:extLst>
              <a:ext uri="{FF2B5EF4-FFF2-40B4-BE49-F238E27FC236}">
                <a16:creationId xmlns:a16="http://schemas.microsoft.com/office/drawing/2014/main" id="{03499A2E-A674-C33A-4BB3-5932368A84DA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209555" y="904646"/>
            <a:ext cx="834438" cy="834438"/>
          </a:xfrm>
          <a:prstGeom prst="rect">
            <a:avLst/>
          </a:prstGeom>
        </p:spPr>
      </p:pic>
      <p:pic>
        <p:nvPicPr>
          <p:cNvPr id="24" name="Picture 23" descr="Icon&#10;&#10;Description automatically generated">
            <a:extLst>
              <a:ext uri="{FF2B5EF4-FFF2-40B4-BE49-F238E27FC236}">
                <a16:creationId xmlns:a16="http://schemas.microsoft.com/office/drawing/2014/main" id="{9A01118A-17DA-A9CA-FB90-3C7EDC057CB7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5250039" y="2135630"/>
            <a:ext cx="834438" cy="834438"/>
          </a:xfrm>
          <a:prstGeom prst="rect">
            <a:avLst/>
          </a:prstGeom>
        </p:spPr>
      </p:pic>
      <p:pic>
        <p:nvPicPr>
          <p:cNvPr id="26" name="Picture 25" descr="Icon&#10;&#10;Description automatically generated">
            <a:extLst>
              <a:ext uri="{FF2B5EF4-FFF2-40B4-BE49-F238E27FC236}">
                <a16:creationId xmlns:a16="http://schemas.microsoft.com/office/drawing/2014/main" id="{EAF91C0E-B6E8-AE1F-81C9-D4D28AFE399C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6260160" y="2135630"/>
            <a:ext cx="834438" cy="834438"/>
          </a:xfrm>
          <a:prstGeom prst="rect">
            <a:avLst/>
          </a:prstGeom>
        </p:spPr>
      </p:pic>
      <p:pic>
        <p:nvPicPr>
          <p:cNvPr id="28" name="Picture 27" descr="Icon&#10;&#10;Description automatically generated">
            <a:extLst>
              <a:ext uri="{FF2B5EF4-FFF2-40B4-BE49-F238E27FC236}">
                <a16:creationId xmlns:a16="http://schemas.microsoft.com/office/drawing/2014/main" id="{929F9759-6B8A-CFD1-B3F1-F2DADBE5B0AB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5226282" y="3366614"/>
            <a:ext cx="834438" cy="834438"/>
          </a:xfrm>
          <a:prstGeom prst="rect">
            <a:avLst/>
          </a:prstGeom>
        </p:spPr>
      </p:pic>
      <p:pic>
        <p:nvPicPr>
          <p:cNvPr id="30" name="Picture 29" descr="Icon&#10;&#10;Description automatically generated">
            <a:extLst>
              <a:ext uri="{FF2B5EF4-FFF2-40B4-BE49-F238E27FC236}">
                <a16:creationId xmlns:a16="http://schemas.microsoft.com/office/drawing/2014/main" id="{755C6451-942B-B230-BAF2-D09F2236E9C3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10276887" y="3366614"/>
            <a:ext cx="834438" cy="834438"/>
          </a:xfrm>
          <a:prstGeom prst="rect">
            <a:avLst/>
          </a:prstGeom>
        </p:spPr>
      </p:pic>
      <p:pic>
        <p:nvPicPr>
          <p:cNvPr id="32" name="Picture 31" descr="Icon&#10;&#10;Description automatically generated">
            <a:extLst>
              <a:ext uri="{FF2B5EF4-FFF2-40B4-BE49-F238E27FC236}">
                <a16:creationId xmlns:a16="http://schemas.microsoft.com/office/drawing/2014/main" id="{B16B95DD-7313-9581-5482-8DB2BE4D385E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11287008" y="3366614"/>
            <a:ext cx="834438" cy="834438"/>
          </a:xfrm>
          <a:prstGeom prst="rect">
            <a:avLst/>
          </a:prstGeom>
        </p:spPr>
      </p:pic>
      <p:pic>
        <p:nvPicPr>
          <p:cNvPr id="34" name="Picture 33" descr="Icon&#10;&#10;Description automatically generated">
            <a:extLst>
              <a:ext uri="{FF2B5EF4-FFF2-40B4-BE49-F238E27FC236}">
                <a16:creationId xmlns:a16="http://schemas.microsoft.com/office/drawing/2014/main" id="{58B0FA1B-1EDE-3EFB-4098-BC6DF9D4F21D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10300644" y="2135630"/>
            <a:ext cx="834438" cy="834438"/>
          </a:xfrm>
          <a:prstGeom prst="rect">
            <a:avLst/>
          </a:prstGeom>
        </p:spPr>
      </p:pic>
      <p:pic>
        <p:nvPicPr>
          <p:cNvPr id="36" name="Picture 35" descr="Icon&#10;&#10;Description automatically generated">
            <a:extLst>
              <a:ext uri="{FF2B5EF4-FFF2-40B4-BE49-F238E27FC236}">
                <a16:creationId xmlns:a16="http://schemas.microsoft.com/office/drawing/2014/main" id="{ABBA2313-7F5B-5D9C-154D-19E9A3A6E5D0}"/>
              </a:ext>
            </a:extLst>
          </p:cNvPr>
          <p:cNvPicPr>
            <a:picLocks noChangeAspect="1"/>
          </p:cNvPicPr>
          <p:nvPr userDrawn="1"/>
        </p:nvPicPr>
        <p:blipFill>
          <a:blip r:embed="rId18"/>
          <a:stretch>
            <a:fillRect/>
          </a:stretch>
        </p:blipFill>
        <p:spPr>
          <a:xfrm>
            <a:off x="11310765" y="2135630"/>
            <a:ext cx="834438" cy="834438"/>
          </a:xfrm>
          <a:prstGeom prst="rect">
            <a:avLst/>
          </a:prstGeom>
        </p:spPr>
      </p:pic>
      <p:pic>
        <p:nvPicPr>
          <p:cNvPr id="38" name="Picture 37" descr="Icon&#10;&#10;Description automatically generated">
            <a:extLst>
              <a:ext uri="{FF2B5EF4-FFF2-40B4-BE49-F238E27FC236}">
                <a16:creationId xmlns:a16="http://schemas.microsoft.com/office/drawing/2014/main" id="{AA0578AC-2C90-19F4-4110-C963B7A6CFBD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tretch>
            <a:fillRect/>
          </a:stretch>
        </p:blipFill>
        <p:spPr>
          <a:xfrm>
            <a:off x="8280402" y="4552377"/>
            <a:ext cx="834438" cy="834438"/>
          </a:xfrm>
          <a:prstGeom prst="rect">
            <a:avLst/>
          </a:prstGeom>
        </p:spPr>
      </p:pic>
      <p:pic>
        <p:nvPicPr>
          <p:cNvPr id="40" name="Picture 39" descr="Icon&#10;&#10;Description automatically generated">
            <a:extLst>
              <a:ext uri="{FF2B5EF4-FFF2-40B4-BE49-F238E27FC236}">
                <a16:creationId xmlns:a16="http://schemas.microsoft.com/office/drawing/2014/main" id="{BA33EEFE-F15A-68DD-514D-072F5FE8B48B}"/>
              </a:ext>
            </a:extLst>
          </p:cNvPr>
          <p:cNvPicPr>
            <a:picLocks noChangeAspect="1"/>
          </p:cNvPicPr>
          <p:nvPr userDrawn="1"/>
        </p:nvPicPr>
        <p:blipFill>
          <a:blip r:embed="rId20"/>
          <a:stretch>
            <a:fillRect/>
          </a:stretch>
        </p:blipFill>
        <p:spPr>
          <a:xfrm>
            <a:off x="7270281" y="4552377"/>
            <a:ext cx="834438" cy="834438"/>
          </a:xfrm>
          <a:prstGeom prst="rect">
            <a:avLst/>
          </a:prstGeom>
        </p:spPr>
      </p:pic>
      <p:pic>
        <p:nvPicPr>
          <p:cNvPr id="42" name="Picture 41" descr="Icon&#10;&#10;Description automatically generated">
            <a:extLst>
              <a:ext uri="{FF2B5EF4-FFF2-40B4-BE49-F238E27FC236}">
                <a16:creationId xmlns:a16="http://schemas.microsoft.com/office/drawing/2014/main" id="{11400ABA-B9B5-FF30-7AC8-CF923F0BDFEC}"/>
              </a:ext>
            </a:extLst>
          </p:cNvPr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4216161" y="3366614"/>
            <a:ext cx="834438" cy="834438"/>
          </a:xfrm>
          <a:prstGeom prst="rect">
            <a:avLst/>
          </a:prstGeom>
        </p:spPr>
      </p:pic>
      <p:pic>
        <p:nvPicPr>
          <p:cNvPr id="44" name="Picture 43" descr="Icon&#10;&#10;Description automatically generated">
            <a:extLst>
              <a:ext uri="{FF2B5EF4-FFF2-40B4-BE49-F238E27FC236}">
                <a16:creationId xmlns:a16="http://schemas.microsoft.com/office/drawing/2014/main" id="{2AC1EC20-89DC-5CD7-7D3D-4316EBA3130F}"/>
              </a:ext>
            </a:extLst>
          </p:cNvPr>
          <p:cNvPicPr>
            <a:picLocks noChangeAspect="1"/>
          </p:cNvPicPr>
          <p:nvPr userDrawn="1"/>
        </p:nvPicPr>
        <p:blipFill>
          <a:blip r:embed="rId22"/>
          <a:stretch>
            <a:fillRect/>
          </a:stretch>
        </p:blipFill>
        <p:spPr>
          <a:xfrm>
            <a:off x="3206040" y="3366614"/>
            <a:ext cx="834438" cy="834438"/>
          </a:xfrm>
          <a:prstGeom prst="rect">
            <a:avLst/>
          </a:prstGeom>
        </p:spPr>
      </p:pic>
      <p:pic>
        <p:nvPicPr>
          <p:cNvPr id="46" name="Picture 45" descr="Icon&#10;&#10;Description automatically generated">
            <a:extLst>
              <a:ext uri="{FF2B5EF4-FFF2-40B4-BE49-F238E27FC236}">
                <a16:creationId xmlns:a16="http://schemas.microsoft.com/office/drawing/2014/main" id="{C522AB4F-E98D-807D-4046-4C56D6BFBDC0}"/>
              </a:ext>
            </a:extLst>
          </p:cNvPr>
          <p:cNvPicPr>
            <a:picLocks noChangeAspect="1"/>
          </p:cNvPicPr>
          <p:nvPr userDrawn="1"/>
        </p:nvPicPr>
        <p:blipFill>
          <a:blip r:embed="rId23"/>
          <a:stretch>
            <a:fillRect/>
          </a:stretch>
        </p:blipFill>
        <p:spPr>
          <a:xfrm>
            <a:off x="2195919" y="3366614"/>
            <a:ext cx="834438" cy="834438"/>
          </a:xfrm>
          <a:prstGeom prst="rect">
            <a:avLst/>
          </a:prstGeom>
        </p:spPr>
      </p:pic>
      <p:pic>
        <p:nvPicPr>
          <p:cNvPr id="48" name="Picture 47" descr="Icon&#10;&#10;Description automatically generated">
            <a:extLst>
              <a:ext uri="{FF2B5EF4-FFF2-40B4-BE49-F238E27FC236}">
                <a16:creationId xmlns:a16="http://schemas.microsoft.com/office/drawing/2014/main" id="{541A91D9-F718-661D-B1F7-088B0287C023}"/>
              </a:ext>
            </a:extLst>
          </p:cNvPr>
          <p:cNvPicPr>
            <a:picLocks noChangeAspect="1"/>
          </p:cNvPicPr>
          <p:nvPr userDrawn="1"/>
        </p:nvPicPr>
        <p:blipFill>
          <a:blip r:embed="rId24"/>
          <a:stretch>
            <a:fillRect/>
          </a:stretch>
        </p:blipFill>
        <p:spPr>
          <a:xfrm>
            <a:off x="1185798" y="3366614"/>
            <a:ext cx="834438" cy="834438"/>
          </a:xfrm>
          <a:prstGeom prst="rect">
            <a:avLst/>
          </a:prstGeom>
        </p:spPr>
      </p:pic>
      <p:pic>
        <p:nvPicPr>
          <p:cNvPr id="50" name="Picture 49" descr="Icon&#10;&#10;Description automatically generated">
            <a:extLst>
              <a:ext uri="{FF2B5EF4-FFF2-40B4-BE49-F238E27FC236}">
                <a16:creationId xmlns:a16="http://schemas.microsoft.com/office/drawing/2014/main" id="{4EB54B31-599B-5A9A-E3FE-F88C537123CC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1209555" y="4552377"/>
            <a:ext cx="834438" cy="834438"/>
          </a:xfrm>
          <a:prstGeom prst="rect">
            <a:avLst/>
          </a:prstGeom>
        </p:spPr>
      </p:pic>
      <p:pic>
        <p:nvPicPr>
          <p:cNvPr id="52" name="Picture 51" descr="Icon&#10;&#10;Description automatically generated">
            <a:extLst>
              <a:ext uri="{FF2B5EF4-FFF2-40B4-BE49-F238E27FC236}">
                <a16:creationId xmlns:a16="http://schemas.microsoft.com/office/drawing/2014/main" id="{2C24CCC4-F07E-7613-4F3A-421C030FD51F}"/>
              </a:ext>
            </a:extLst>
          </p:cNvPr>
          <p:cNvPicPr>
            <a:picLocks noChangeAspect="1"/>
          </p:cNvPicPr>
          <p:nvPr userDrawn="1"/>
        </p:nvPicPr>
        <p:blipFill>
          <a:blip r:embed="rId26"/>
          <a:stretch>
            <a:fillRect/>
          </a:stretch>
        </p:blipFill>
        <p:spPr>
          <a:xfrm>
            <a:off x="6260160" y="4552377"/>
            <a:ext cx="834438" cy="834438"/>
          </a:xfrm>
          <a:prstGeom prst="rect">
            <a:avLst/>
          </a:prstGeom>
        </p:spPr>
      </p:pic>
      <p:pic>
        <p:nvPicPr>
          <p:cNvPr id="54" name="Picture 53" descr="Icon&#10;&#10;Description automatically generated">
            <a:extLst>
              <a:ext uri="{FF2B5EF4-FFF2-40B4-BE49-F238E27FC236}">
                <a16:creationId xmlns:a16="http://schemas.microsoft.com/office/drawing/2014/main" id="{C31EDC2C-491D-5DC6-4B38-D6CAAF67D3E3}"/>
              </a:ext>
            </a:extLst>
          </p:cNvPr>
          <p:cNvPicPr>
            <a:picLocks noChangeAspect="1"/>
          </p:cNvPicPr>
          <p:nvPr userDrawn="1"/>
        </p:nvPicPr>
        <p:blipFill>
          <a:blip r:embed="rId27"/>
          <a:stretch>
            <a:fillRect/>
          </a:stretch>
        </p:blipFill>
        <p:spPr>
          <a:xfrm>
            <a:off x="5250039" y="4552377"/>
            <a:ext cx="834438" cy="834438"/>
          </a:xfrm>
          <a:prstGeom prst="rect">
            <a:avLst/>
          </a:prstGeom>
        </p:spPr>
      </p:pic>
      <p:pic>
        <p:nvPicPr>
          <p:cNvPr id="56" name="Picture 55" descr="Icon&#10;&#10;Description automatically generated">
            <a:extLst>
              <a:ext uri="{FF2B5EF4-FFF2-40B4-BE49-F238E27FC236}">
                <a16:creationId xmlns:a16="http://schemas.microsoft.com/office/drawing/2014/main" id="{0E4A548C-1433-1FD2-5F98-11DE8496E188}"/>
              </a:ext>
            </a:extLst>
          </p:cNvPr>
          <p:cNvPicPr>
            <a:picLocks noChangeAspect="1"/>
          </p:cNvPicPr>
          <p:nvPr userDrawn="1"/>
        </p:nvPicPr>
        <p:blipFill>
          <a:blip r:embed="rId28"/>
          <a:stretch>
            <a:fillRect/>
          </a:stretch>
        </p:blipFill>
        <p:spPr>
          <a:xfrm>
            <a:off x="4239918" y="4552377"/>
            <a:ext cx="834438" cy="834438"/>
          </a:xfrm>
          <a:prstGeom prst="rect">
            <a:avLst/>
          </a:prstGeom>
        </p:spPr>
      </p:pic>
      <p:pic>
        <p:nvPicPr>
          <p:cNvPr id="58" name="Picture 57" descr="Icon&#10;&#10;Description automatically generated">
            <a:extLst>
              <a:ext uri="{FF2B5EF4-FFF2-40B4-BE49-F238E27FC236}">
                <a16:creationId xmlns:a16="http://schemas.microsoft.com/office/drawing/2014/main" id="{1D79FDCF-5C12-8782-F98B-7865126BF088}"/>
              </a:ext>
            </a:extLst>
          </p:cNvPr>
          <p:cNvPicPr>
            <a:picLocks noChangeAspect="1"/>
          </p:cNvPicPr>
          <p:nvPr userDrawn="1"/>
        </p:nvPicPr>
        <p:blipFill>
          <a:blip r:embed="rId29"/>
          <a:stretch>
            <a:fillRect/>
          </a:stretch>
        </p:blipFill>
        <p:spPr>
          <a:xfrm>
            <a:off x="3229797" y="4552377"/>
            <a:ext cx="834438" cy="834438"/>
          </a:xfrm>
          <a:prstGeom prst="rect">
            <a:avLst/>
          </a:prstGeom>
        </p:spPr>
      </p:pic>
      <p:pic>
        <p:nvPicPr>
          <p:cNvPr id="62" name="Picture 61" descr="Icon&#10;&#10;Description automatically generated">
            <a:extLst>
              <a:ext uri="{FF2B5EF4-FFF2-40B4-BE49-F238E27FC236}">
                <a16:creationId xmlns:a16="http://schemas.microsoft.com/office/drawing/2014/main" id="{B143E122-4C89-DD2A-E582-09400DFDAE50}"/>
              </a:ext>
            </a:extLst>
          </p:cNvPr>
          <p:cNvPicPr>
            <a:picLocks noChangeAspect="1"/>
          </p:cNvPicPr>
          <p:nvPr userDrawn="1"/>
        </p:nvPicPr>
        <p:blipFill>
          <a:blip r:embed="rId30"/>
          <a:stretch>
            <a:fillRect/>
          </a:stretch>
        </p:blipFill>
        <p:spPr>
          <a:xfrm>
            <a:off x="2219676" y="4552377"/>
            <a:ext cx="834438" cy="834438"/>
          </a:xfrm>
          <a:prstGeom prst="rect">
            <a:avLst/>
          </a:prstGeom>
        </p:spPr>
      </p:pic>
      <p:pic>
        <p:nvPicPr>
          <p:cNvPr id="64" name="Picture 63" descr="Icon&#10;&#10;Description automatically generated">
            <a:extLst>
              <a:ext uri="{FF2B5EF4-FFF2-40B4-BE49-F238E27FC236}">
                <a16:creationId xmlns:a16="http://schemas.microsoft.com/office/drawing/2014/main" id="{F7B34198-AB08-7DAA-F603-08E914492CA5}"/>
              </a:ext>
            </a:extLst>
          </p:cNvPr>
          <p:cNvPicPr>
            <a:picLocks noChangeAspect="1"/>
          </p:cNvPicPr>
          <p:nvPr userDrawn="1"/>
        </p:nvPicPr>
        <p:blipFill>
          <a:blip r:embed="rId31"/>
          <a:stretch>
            <a:fillRect/>
          </a:stretch>
        </p:blipFill>
        <p:spPr>
          <a:xfrm>
            <a:off x="199434" y="4552377"/>
            <a:ext cx="834438" cy="834438"/>
          </a:xfrm>
          <a:prstGeom prst="rect">
            <a:avLst/>
          </a:prstGeom>
        </p:spPr>
      </p:pic>
      <p:pic>
        <p:nvPicPr>
          <p:cNvPr id="66" name="Picture 65" descr="Icon&#10;&#10;Description automatically generated">
            <a:extLst>
              <a:ext uri="{FF2B5EF4-FFF2-40B4-BE49-F238E27FC236}">
                <a16:creationId xmlns:a16="http://schemas.microsoft.com/office/drawing/2014/main" id="{EBB8AC29-3552-5877-BDA9-13707C6B1BA4}"/>
              </a:ext>
            </a:extLst>
          </p:cNvPr>
          <p:cNvPicPr>
            <a:picLocks noChangeAspect="1"/>
          </p:cNvPicPr>
          <p:nvPr userDrawn="1"/>
        </p:nvPicPr>
        <p:blipFill>
          <a:blip r:embed="rId32"/>
          <a:stretch>
            <a:fillRect/>
          </a:stretch>
        </p:blipFill>
        <p:spPr>
          <a:xfrm>
            <a:off x="4239918" y="2135630"/>
            <a:ext cx="834438" cy="834438"/>
          </a:xfrm>
          <a:prstGeom prst="rect">
            <a:avLst/>
          </a:prstGeom>
        </p:spPr>
      </p:pic>
      <p:pic>
        <p:nvPicPr>
          <p:cNvPr id="68" name="Picture 67" descr="Icon&#10;&#10;Description automatically generated">
            <a:extLst>
              <a:ext uri="{FF2B5EF4-FFF2-40B4-BE49-F238E27FC236}">
                <a16:creationId xmlns:a16="http://schemas.microsoft.com/office/drawing/2014/main" id="{CEBED779-8FF5-5714-E2A7-50EC6F401A19}"/>
              </a:ext>
            </a:extLst>
          </p:cNvPr>
          <p:cNvPicPr>
            <a:picLocks noChangeAspect="1"/>
          </p:cNvPicPr>
          <p:nvPr userDrawn="1"/>
        </p:nvPicPr>
        <p:blipFill>
          <a:blip r:embed="rId33"/>
          <a:stretch>
            <a:fillRect/>
          </a:stretch>
        </p:blipFill>
        <p:spPr>
          <a:xfrm>
            <a:off x="3229797" y="2135630"/>
            <a:ext cx="834438" cy="834438"/>
          </a:xfrm>
          <a:prstGeom prst="rect">
            <a:avLst/>
          </a:prstGeom>
        </p:spPr>
      </p:pic>
      <p:pic>
        <p:nvPicPr>
          <p:cNvPr id="70" name="Picture 69" descr="Icon&#10;&#10;Description automatically generated">
            <a:extLst>
              <a:ext uri="{FF2B5EF4-FFF2-40B4-BE49-F238E27FC236}">
                <a16:creationId xmlns:a16="http://schemas.microsoft.com/office/drawing/2014/main" id="{B6616015-4220-0505-D188-16DB8F898EFF}"/>
              </a:ext>
            </a:extLst>
          </p:cNvPr>
          <p:cNvPicPr>
            <a:picLocks noChangeAspect="1"/>
          </p:cNvPicPr>
          <p:nvPr userDrawn="1"/>
        </p:nvPicPr>
        <p:blipFill>
          <a:blip r:embed="rId34"/>
          <a:stretch>
            <a:fillRect/>
          </a:stretch>
        </p:blipFill>
        <p:spPr>
          <a:xfrm>
            <a:off x="2219676" y="2135630"/>
            <a:ext cx="834438" cy="834438"/>
          </a:xfrm>
          <a:prstGeom prst="rect">
            <a:avLst/>
          </a:prstGeom>
        </p:spPr>
      </p:pic>
      <p:pic>
        <p:nvPicPr>
          <p:cNvPr id="72" name="Picture 71" descr="Logo, icon, company name&#10;&#10;Description automatically generated">
            <a:extLst>
              <a:ext uri="{FF2B5EF4-FFF2-40B4-BE49-F238E27FC236}">
                <a16:creationId xmlns:a16="http://schemas.microsoft.com/office/drawing/2014/main" id="{F8F63782-8F9F-DF08-A77D-37F33A8BCBBF}"/>
              </a:ext>
            </a:extLst>
          </p:cNvPr>
          <p:cNvPicPr>
            <a:picLocks noChangeAspect="1"/>
          </p:cNvPicPr>
          <p:nvPr userDrawn="1"/>
        </p:nvPicPr>
        <p:blipFill>
          <a:blip r:embed="rId35"/>
          <a:stretch>
            <a:fillRect/>
          </a:stretch>
        </p:blipFill>
        <p:spPr>
          <a:xfrm>
            <a:off x="8906232" y="24893"/>
            <a:ext cx="834438" cy="834438"/>
          </a:xfrm>
          <a:prstGeom prst="rect">
            <a:avLst/>
          </a:prstGeom>
        </p:spPr>
      </p:pic>
      <p:pic>
        <p:nvPicPr>
          <p:cNvPr id="74" name="Picture 73" descr="Icon&#10;&#10;Description automatically generated">
            <a:extLst>
              <a:ext uri="{FF2B5EF4-FFF2-40B4-BE49-F238E27FC236}">
                <a16:creationId xmlns:a16="http://schemas.microsoft.com/office/drawing/2014/main" id="{83E1B56F-2702-2ABE-3D26-06C6A5B55D8B}"/>
              </a:ext>
            </a:extLst>
          </p:cNvPr>
          <p:cNvPicPr>
            <a:picLocks noChangeAspect="1"/>
          </p:cNvPicPr>
          <p:nvPr userDrawn="1"/>
        </p:nvPicPr>
        <p:blipFill>
          <a:blip r:embed="rId36"/>
          <a:stretch>
            <a:fillRect/>
          </a:stretch>
        </p:blipFill>
        <p:spPr>
          <a:xfrm>
            <a:off x="6846733" y="36827"/>
            <a:ext cx="834438" cy="834438"/>
          </a:xfrm>
          <a:prstGeom prst="rect">
            <a:avLst/>
          </a:prstGeom>
        </p:spPr>
      </p:pic>
      <p:pic>
        <p:nvPicPr>
          <p:cNvPr id="76" name="Picture 75" descr="Icon&#10;&#10;Description automatically generated">
            <a:extLst>
              <a:ext uri="{FF2B5EF4-FFF2-40B4-BE49-F238E27FC236}">
                <a16:creationId xmlns:a16="http://schemas.microsoft.com/office/drawing/2014/main" id="{AA39395E-A9ED-E9C4-0FC0-FE78B99A16C3}"/>
              </a:ext>
            </a:extLst>
          </p:cNvPr>
          <p:cNvPicPr>
            <a:picLocks noChangeAspect="1"/>
          </p:cNvPicPr>
          <p:nvPr userDrawn="1"/>
        </p:nvPicPr>
        <p:blipFill>
          <a:blip r:embed="rId37"/>
          <a:stretch>
            <a:fillRect/>
          </a:stretch>
        </p:blipFill>
        <p:spPr>
          <a:xfrm>
            <a:off x="199434" y="904646"/>
            <a:ext cx="834438" cy="834438"/>
          </a:xfrm>
          <a:prstGeom prst="rect">
            <a:avLst/>
          </a:prstGeom>
        </p:spPr>
      </p:pic>
      <p:pic>
        <p:nvPicPr>
          <p:cNvPr id="78" name="Picture 77" descr="Icon&#10;&#10;Description automatically generated">
            <a:extLst>
              <a:ext uri="{FF2B5EF4-FFF2-40B4-BE49-F238E27FC236}">
                <a16:creationId xmlns:a16="http://schemas.microsoft.com/office/drawing/2014/main" id="{2F525AC8-DCC7-4C16-87EE-DD53B9E7D832}"/>
              </a:ext>
            </a:extLst>
          </p:cNvPr>
          <p:cNvPicPr>
            <a:picLocks noChangeAspect="1"/>
          </p:cNvPicPr>
          <p:nvPr userDrawn="1"/>
        </p:nvPicPr>
        <p:blipFill>
          <a:blip r:embed="rId38"/>
          <a:stretch>
            <a:fillRect/>
          </a:stretch>
        </p:blipFill>
        <p:spPr>
          <a:xfrm>
            <a:off x="8280402" y="2135630"/>
            <a:ext cx="834438" cy="834438"/>
          </a:xfrm>
          <a:prstGeom prst="rect">
            <a:avLst/>
          </a:prstGeom>
        </p:spPr>
      </p:pic>
      <p:pic>
        <p:nvPicPr>
          <p:cNvPr id="80" name="Picture 79" descr="Icon&#10;&#10;Description automatically generated">
            <a:extLst>
              <a:ext uri="{FF2B5EF4-FFF2-40B4-BE49-F238E27FC236}">
                <a16:creationId xmlns:a16="http://schemas.microsoft.com/office/drawing/2014/main" id="{F77F8C2B-4397-D96B-6087-FAA1C9AEE0BF}"/>
              </a:ext>
            </a:extLst>
          </p:cNvPr>
          <p:cNvPicPr>
            <a:picLocks noChangeAspect="1"/>
          </p:cNvPicPr>
          <p:nvPr userDrawn="1"/>
        </p:nvPicPr>
        <p:blipFill>
          <a:blip r:embed="rId39"/>
          <a:stretch>
            <a:fillRect/>
          </a:stretch>
        </p:blipFill>
        <p:spPr>
          <a:xfrm>
            <a:off x="8256645" y="3366614"/>
            <a:ext cx="834438" cy="834438"/>
          </a:xfrm>
          <a:prstGeom prst="rect">
            <a:avLst/>
          </a:prstGeom>
        </p:spPr>
      </p:pic>
      <p:pic>
        <p:nvPicPr>
          <p:cNvPr id="82" name="Picture 81" descr="Icon&#10;&#10;Description automatically generated">
            <a:extLst>
              <a:ext uri="{FF2B5EF4-FFF2-40B4-BE49-F238E27FC236}">
                <a16:creationId xmlns:a16="http://schemas.microsoft.com/office/drawing/2014/main" id="{08810DD9-F35B-9274-443B-F1637C901551}"/>
              </a:ext>
            </a:extLst>
          </p:cNvPr>
          <p:cNvPicPr>
            <a:picLocks noChangeAspect="1"/>
          </p:cNvPicPr>
          <p:nvPr userDrawn="1"/>
        </p:nvPicPr>
        <p:blipFill>
          <a:blip r:embed="rId40"/>
          <a:stretch>
            <a:fillRect/>
          </a:stretch>
        </p:blipFill>
        <p:spPr>
          <a:xfrm>
            <a:off x="11310765" y="904646"/>
            <a:ext cx="834438" cy="834438"/>
          </a:xfrm>
          <a:prstGeom prst="rect">
            <a:avLst/>
          </a:prstGeom>
        </p:spPr>
      </p:pic>
      <p:pic>
        <p:nvPicPr>
          <p:cNvPr id="84" name="Picture 83" descr="Icon&#10;&#10;Description automatically generated">
            <a:extLst>
              <a:ext uri="{FF2B5EF4-FFF2-40B4-BE49-F238E27FC236}">
                <a16:creationId xmlns:a16="http://schemas.microsoft.com/office/drawing/2014/main" id="{22AACB46-89E8-1629-DD20-227D3EA18DF8}"/>
              </a:ext>
            </a:extLst>
          </p:cNvPr>
          <p:cNvPicPr>
            <a:picLocks noChangeAspect="1"/>
          </p:cNvPicPr>
          <p:nvPr userDrawn="1"/>
        </p:nvPicPr>
        <p:blipFill>
          <a:blip r:embed="rId41"/>
          <a:stretch>
            <a:fillRect/>
          </a:stretch>
        </p:blipFill>
        <p:spPr>
          <a:xfrm>
            <a:off x="7270281" y="904646"/>
            <a:ext cx="834438" cy="834438"/>
          </a:xfrm>
          <a:prstGeom prst="rect">
            <a:avLst/>
          </a:prstGeom>
        </p:spPr>
      </p:pic>
      <p:pic>
        <p:nvPicPr>
          <p:cNvPr id="86" name="Picture 85" descr="Icon&#10;&#10;Description automatically generated">
            <a:extLst>
              <a:ext uri="{FF2B5EF4-FFF2-40B4-BE49-F238E27FC236}">
                <a16:creationId xmlns:a16="http://schemas.microsoft.com/office/drawing/2014/main" id="{E2C5836B-2907-2464-BE59-BDC83AD15F4D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tretch>
            <a:fillRect/>
          </a:stretch>
        </p:blipFill>
        <p:spPr>
          <a:xfrm>
            <a:off x="8280402" y="904646"/>
            <a:ext cx="834438" cy="834438"/>
          </a:xfrm>
          <a:prstGeom prst="rect">
            <a:avLst/>
          </a:prstGeom>
        </p:spPr>
      </p:pic>
      <p:pic>
        <p:nvPicPr>
          <p:cNvPr id="88" name="Picture 87" descr="Icon&#10;&#10;Description automatically generated">
            <a:extLst>
              <a:ext uri="{FF2B5EF4-FFF2-40B4-BE49-F238E27FC236}">
                <a16:creationId xmlns:a16="http://schemas.microsoft.com/office/drawing/2014/main" id="{E4E2FDCD-649B-1C8C-296A-D710B958BE7E}"/>
              </a:ext>
            </a:extLst>
          </p:cNvPr>
          <p:cNvPicPr>
            <a:picLocks noChangeAspect="1"/>
          </p:cNvPicPr>
          <p:nvPr userDrawn="1"/>
        </p:nvPicPr>
        <p:blipFill>
          <a:blip r:embed="rId43"/>
          <a:stretch>
            <a:fillRect/>
          </a:stretch>
        </p:blipFill>
        <p:spPr>
          <a:xfrm>
            <a:off x="9290523" y="904646"/>
            <a:ext cx="834438" cy="834438"/>
          </a:xfrm>
          <a:prstGeom prst="rect">
            <a:avLst/>
          </a:prstGeom>
        </p:spPr>
      </p:pic>
      <p:pic>
        <p:nvPicPr>
          <p:cNvPr id="90" name="Picture 89" descr="Icon&#10;&#10;Description automatically generated">
            <a:extLst>
              <a:ext uri="{FF2B5EF4-FFF2-40B4-BE49-F238E27FC236}">
                <a16:creationId xmlns:a16="http://schemas.microsoft.com/office/drawing/2014/main" id="{825841AE-50F5-47ED-D55A-74E77EC89FCC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10300644" y="904646"/>
            <a:ext cx="834438" cy="834438"/>
          </a:xfrm>
          <a:prstGeom prst="rect">
            <a:avLst/>
          </a:prstGeom>
        </p:spPr>
      </p:pic>
      <p:pic>
        <p:nvPicPr>
          <p:cNvPr id="92" name="Picture 91" descr="Icon&#10;&#10;Description automatically generated">
            <a:extLst>
              <a:ext uri="{FF2B5EF4-FFF2-40B4-BE49-F238E27FC236}">
                <a16:creationId xmlns:a16="http://schemas.microsoft.com/office/drawing/2014/main" id="{3A8FE444-23E3-EA2B-B74E-BBCFA96A2D2B}"/>
              </a:ext>
            </a:extLst>
          </p:cNvPr>
          <p:cNvPicPr>
            <a:picLocks noChangeAspect="1"/>
          </p:cNvPicPr>
          <p:nvPr userDrawn="1"/>
        </p:nvPicPr>
        <p:blipFill>
          <a:blip r:embed="rId45"/>
          <a:stretch>
            <a:fillRect/>
          </a:stretch>
        </p:blipFill>
        <p:spPr>
          <a:xfrm>
            <a:off x="7246524" y="3366614"/>
            <a:ext cx="834438" cy="834438"/>
          </a:xfrm>
          <a:prstGeom prst="rect">
            <a:avLst/>
          </a:prstGeom>
        </p:spPr>
      </p:pic>
      <p:pic>
        <p:nvPicPr>
          <p:cNvPr id="94" name="Picture 93" descr="Logo&#10;&#10;Description automatically generated">
            <a:extLst>
              <a:ext uri="{FF2B5EF4-FFF2-40B4-BE49-F238E27FC236}">
                <a16:creationId xmlns:a16="http://schemas.microsoft.com/office/drawing/2014/main" id="{74BFA396-FA43-F2C3-CFC7-38A62D20276E}"/>
              </a:ext>
            </a:extLst>
          </p:cNvPr>
          <p:cNvPicPr>
            <a:picLocks noChangeAspect="1"/>
          </p:cNvPicPr>
          <p:nvPr userDrawn="1"/>
        </p:nvPicPr>
        <p:blipFill>
          <a:blip r:embed="rId46"/>
          <a:stretch>
            <a:fillRect/>
          </a:stretch>
        </p:blipFill>
        <p:spPr>
          <a:xfrm>
            <a:off x="9266766" y="3366614"/>
            <a:ext cx="834438" cy="834438"/>
          </a:xfrm>
          <a:prstGeom prst="rect">
            <a:avLst/>
          </a:prstGeom>
        </p:spPr>
      </p:pic>
      <p:pic>
        <p:nvPicPr>
          <p:cNvPr id="96" name="Picture 95" descr="Icon&#10;&#10;Description automatically generated">
            <a:extLst>
              <a:ext uri="{FF2B5EF4-FFF2-40B4-BE49-F238E27FC236}">
                <a16:creationId xmlns:a16="http://schemas.microsoft.com/office/drawing/2014/main" id="{CA30CA71-F071-EBC3-1D38-AF20EA1F65C3}"/>
              </a:ext>
            </a:extLst>
          </p:cNvPr>
          <p:cNvPicPr>
            <a:picLocks noChangeAspect="1"/>
          </p:cNvPicPr>
          <p:nvPr userDrawn="1"/>
        </p:nvPicPr>
        <p:blipFill>
          <a:blip r:embed="rId47"/>
          <a:stretch>
            <a:fillRect/>
          </a:stretch>
        </p:blipFill>
        <p:spPr>
          <a:xfrm>
            <a:off x="6236403" y="3366614"/>
            <a:ext cx="834438" cy="834438"/>
          </a:xfrm>
          <a:prstGeom prst="rect">
            <a:avLst/>
          </a:prstGeom>
        </p:spPr>
      </p:pic>
      <p:pic>
        <p:nvPicPr>
          <p:cNvPr id="98" name="Picture 97" descr="Icon&#10;&#10;Description automatically generated">
            <a:extLst>
              <a:ext uri="{FF2B5EF4-FFF2-40B4-BE49-F238E27FC236}">
                <a16:creationId xmlns:a16="http://schemas.microsoft.com/office/drawing/2014/main" id="{41CFFE5E-D6C5-0D3B-A288-7DDF67FA8A72}"/>
              </a:ext>
            </a:extLst>
          </p:cNvPr>
          <p:cNvPicPr>
            <a:picLocks noChangeAspect="1"/>
          </p:cNvPicPr>
          <p:nvPr userDrawn="1"/>
        </p:nvPicPr>
        <p:blipFill>
          <a:blip r:embed="rId48"/>
          <a:stretch>
            <a:fillRect/>
          </a:stretch>
        </p:blipFill>
        <p:spPr>
          <a:xfrm>
            <a:off x="9290523" y="2135630"/>
            <a:ext cx="834438" cy="834438"/>
          </a:xfrm>
          <a:prstGeom prst="rect">
            <a:avLst/>
          </a:prstGeom>
        </p:spPr>
      </p:pic>
      <p:pic>
        <p:nvPicPr>
          <p:cNvPr id="100" name="Picture 99" descr="Icon&#10;&#10;Description automatically generated">
            <a:extLst>
              <a:ext uri="{FF2B5EF4-FFF2-40B4-BE49-F238E27FC236}">
                <a16:creationId xmlns:a16="http://schemas.microsoft.com/office/drawing/2014/main" id="{6E045ED2-045C-5E1F-60DC-AAAF47D5424B}"/>
              </a:ext>
            </a:extLst>
          </p:cNvPr>
          <p:cNvPicPr>
            <a:picLocks noChangeAspect="1"/>
          </p:cNvPicPr>
          <p:nvPr userDrawn="1"/>
        </p:nvPicPr>
        <p:blipFill>
          <a:blip r:embed="rId49"/>
          <a:stretch>
            <a:fillRect/>
          </a:stretch>
        </p:blipFill>
        <p:spPr>
          <a:xfrm>
            <a:off x="8280402" y="5635410"/>
            <a:ext cx="834438" cy="834438"/>
          </a:xfrm>
          <a:prstGeom prst="rect">
            <a:avLst/>
          </a:prstGeom>
        </p:spPr>
      </p:pic>
      <p:pic>
        <p:nvPicPr>
          <p:cNvPr id="102" name="Picture 101" descr="Icon&#10;&#10;Description automatically generated">
            <a:extLst>
              <a:ext uri="{FF2B5EF4-FFF2-40B4-BE49-F238E27FC236}">
                <a16:creationId xmlns:a16="http://schemas.microsoft.com/office/drawing/2014/main" id="{19E56ADF-E6B7-FB9C-656E-BACAA049A4EE}"/>
              </a:ext>
            </a:extLst>
          </p:cNvPr>
          <p:cNvPicPr>
            <a:picLocks noChangeAspect="1"/>
          </p:cNvPicPr>
          <p:nvPr userDrawn="1"/>
        </p:nvPicPr>
        <p:blipFill>
          <a:blip r:embed="rId50"/>
          <a:stretch>
            <a:fillRect/>
          </a:stretch>
        </p:blipFill>
        <p:spPr>
          <a:xfrm>
            <a:off x="9290523" y="4552377"/>
            <a:ext cx="834438" cy="834438"/>
          </a:xfrm>
          <a:prstGeom prst="rect">
            <a:avLst/>
          </a:prstGeom>
        </p:spPr>
      </p:pic>
      <p:pic>
        <p:nvPicPr>
          <p:cNvPr id="104" name="Picture 103" descr="A picture containing text, sign, vector graphics&#10;&#10;Description automatically generated">
            <a:extLst>
              <a:ext uri="{FF2B5EF4-FFF2-40B4-BE49-F238E27FC236}">
                <a16:creationId xmlns:a16="http://schemas.microsoft.com/office/drawing/2014/main" id="{040B77F7-113C-A60A-1404-9D23F2C42217}"/>
              </a:ext>
            </a:extLst>
          </p:cNvPr>
          <p:cNvPicPr>
            <a:picLocks noChangeAspect="1"/>
          </p:cNvPicPr>
          <p:nvPr userDrawn="1"/>
        </p:nvPicPr>
        <p:blipFill>
          <a:blip r:embed="rId51"/>
          <a:stretch>
            <a:fillRect/>
          </a:stretch>
        </p:blipFill>
        <p:spPr>
          <a:xfrm>
            <a:off x="10300644" y="4552377"/>
            <a:ext cx="834438" cy="834438"/>
          </a:xfrm>
          <a:prstGeom prst="rect">
            <a:avLst/>
          </a:prstGeom>
        </p:spPr>
      </p:pic>
      <p:pic>
        <p:nvPicPr>
          <p:cNvPr id="106" name="Picture 105" descr="Icon&#10;&#10;Description automatically generated">
            <a:extLst>
              <a:ext uri="{FF2B5EF4-FFF2-40B4-BE49-F238E27FC236}">
                <a16:creationId xmlns:a16="http://schemas.microsoft.com/office/drawing/2014/main" id="{755761F6-8133-A71F-A277-635A275E2159}"/>
              </a:ext>
            </a:extLst>
          </p:cNvPr>
          <p:cNvPicPr>
            <a:picLocks noChangeAspect="1"/>
          </p:cNvPicPr>
          <p:nvPr userDrawn="1"/>
        </p:nvPicPr>
        <p:blipFill>
          <a:blip r:embed="rId52"/>
          <a:stretch>
            <a:fillRect/>
          </a:stretch>
        </p:blipFill>
        <p:spPr>
          <a:xfrm>
            <a:off x="11310765" y="4552377"/>
            <a:ext cx="834438" cy="834438"/>
          </a:xfrm>
          <a:prstGeom prst="rect">
            <a:avLst/>
          </a:prstGeom>
        </p:spPr>
      </p:pic>
      <p:pic>
        <p:nvPicPr>
          <p:cNvPr id="108" name="Picture 107" descr="Icon&#10;&#10;Description automatically generated">
            <a:extLst>
              <a:ext uri="{FF2B5EF4-FFF2-40B4-BE49-F238E27FC236}">
                <a16:creationId xmlns:a16="http://schemas.microsoft.com/office/drawing/2014/main" id="{86B4586A-FA51-CAA1-EE75-6128AFA53ADE}"/>
              </a:ext>
            </a:extLst>
          </p:cNvPr>
          <p:cNvPicPr>
            <a:picLocks noChangeAspect="1"/>
          </p:cNvPicPr>
          <p:nvPr userDrawn="1"/>
        </p:nvPicPr>
        <p:blipFill>
          <a:blip r:embed="rId53"/>
          <a:stretch>
            <a:fillRect/>
          </a:stretch>
        </p:blipFill>
        <p:spPr>
          <a:xfrm>
            <a:off x="10300644" y="5635410"/>
            <a:ext cx="834438" cy="834438"/>
          </a:xfrm>
          <a:prstGeom prst="rect">
            <a:avLst/>
          </a:prstGeom>
        </p:spPr>
      </p:pic>
      <p:pic>
        <p:nvPicPr>
          <p:cNvPr id="110" name="Picture 109" descr="A picture containing icon&#10;&#10;Description automatically generated">
            <a:extLst>
              <a:ext uri="{FF2B5EF4-FFF2-40B4-BE49-F238E27FC236}">
                <a16:creationId xmlns:a16="http://schemas.microsoft.com/office/drawing/2014/main" id="{BD05E9AB-7E0D-075D-1493-09BC7562BC2F}"/>
              </a:ext>
            </a:extLst>
          </p:cNvPr>
          <p:cNvPicPr>
            <a:picLocks noChangeAspect="1"/>
          </p:cNvPicPr>
          <p:nvPr userDrawn="1"/>
        </p:nvPicPr>
        <p:blipFill>
          <a:blip r:embed="rId54"/>
          <a:stretch>
            <a:fillRect/>
          </a:stretch>
        </p:blipFill>
        <p:spPr>
          <a:xfrm>
            <a:off x="199434" y="5635410"/>
            <a:ext cx="834438" cy="834438"/>
          </a:xfrm>
          <a:prstGeom prst="rect">
            <a:avLst/>
          </a:prstGeom>
        </p:spPr>
      </p:pic>
      <p:pic>
        <p:nvPicPr>
          <p:cNvPr id="112" name="Picture 111" descr="Icon&#10;&#10;Description automatically generated">
            <a:extLst>
              <a:ext uri="{FF2B5EF4-FFF2-40B4-BE49-F238E27FC236}">
                <a16:creationId xmlns:a16="http://schemas.microsoft.com/office/drawing/2014/main" id="{4B2F0670-FF48-E3BC-9519-AA3D84B69440}"/>
              </a:ext>
            </a:extLst>
          </p:cNvPr>
          <p:cNvPicPr>
            <a:picLocks noChangeAspect="1"/>
          </p:cNvPicPr>
          <p:nvPr userDrawn="1"/>
        </p:nvPicPr>
        <p:blipFill>
          <a:blip r:embed="rId55"/>
          <a:stretch>
            <a:fillRect/>
          </a:stretch>
        </p:blipFill>
        <p:spPr>
          <a:xfrm>
            <a:off x="1209555" y="5635410"/>
            <a:ext cx="834438" cy="834438"/>
          </a:xfrm>
          <a:prstGeom prst="rect">
            <a:avLst/>
          </a:prstGeom>
        </p:spPr>
      </p:pic>
      <p:pic>
        <p:nvPicPr>
          <p:cNvPr id="114" name="Picture 113" descr="Icon&#10;&#10;Description automatically generated">
            <a:extLst>
              <a:ext uri="{FF2B5EF4-FFF2-40B4-BE49-F238E27FC236}">
                <a16:creationId xmlns:a16="http://schemas.microsoft.com/office/drawing/2014/main" id="{7BF290E4-F8A0-A201-9E7A-44170C7EBCEB}"/>
              </a:ext>
            </a:extLst>
          </p:cNvPr>
          <p:cNvPicPr>
            <a:picLocks noChangeAspect="1"/>
          </p:cNvPicPr>
          <p:nvPr userDrawn="1"/>
        </p:nvPicPr>
        <p:blipFill>
          <a:blip r:embed="rId56"/>
          <a:stretch>
            <a:fillRect/>
          </a:stretch>
        </p:blipFill>
        <p:spPr>
          <a:xfrm>
            <a:off x="2219676" y="5635410"/>
            <a:ext cx="834438" cy="834438"/>
          </a:xfrm>
          <a:prstGeom prst="rect">
            <a:avLst/>
          </a:prstGeom>
        </p:spPr>
      </p:pic>
      <p:pic>
        <p:nvPicPr>
          <p:cNvPr id="116" name="Picture 115" descr="Icon&#10;&#10;Description automatically generated">
            <a:extLst>
              <a:ext uri="{FF2B5EF4-FFF2-40B4-BE49-F238E27FC236}">
                <a16:creationId xmlns:a16="http://schemas.microsoft.com/office/drawing/2014/main" id="{C62F117B-F91E-E3EF-C0F7-173365347127}"/>
              </a:ext>
            </a:extLst>
          </p:cNvPr>
          <p:cNvPicPr>
            <a:picLocks noChangeAspect="1"/>
          </p:cNvPicPr>
          <p:nvPr userDrawn="1"/>
        </p:nvPicPr>
        <p:blipFill>
          <a:blip r:embed="rId57"/>
          <a:stretch>
            <a:fillRect/>
          </a:stretch>
        </p:blipFill>
        <p:spPr>
          <a:xfrm>
            <a:off x="3229797" y="5635410"/>
            <a:ext cx="834438" cy="834438"/>
          </a:xfrm>
          <a:prstGeom prst="rect">
            <a:avLst/>
          </a:prstGeom>
        </p:spPr>
      </p:pic>
      <p:pic>
        <p:nvPicPr>
          <p:cNvPr id="118" name="Picture 117" descr="Logo&#10;&#10;Description automatically generated with medium confidence">
            <a:extLst>
              <a:ext uri="{FF2B5EF4-FFF2-40B4-BE49-F238E27FC236}">
                <a16:creationId xmlns:a16="http://schemas.microsoft.com/office/drawing/2014/main" id="{7054C8FB-2FC8-3CF3-271B-61996D895236}"/>
              </a:ext>
            </a:extLst>
          </p:cNvPr>
          <p:cNvPicPr>
            <a:picLocks noChangeAspect="1"/>
          </p:cNvPicPr>
          <p:nvPr userDrawn="1"/>
        </p:nvPicPr>
        <p:blipFill>
          <a:blip r:embed="rId58"/>
          <a:stretch>
            <a:fillRect/>
          </a:stretch>
        </p:blipFill>
        <p:spPr>
          <a:xfrm>
            <a:off x="4239918" y="5635410"/>
            <a:ext cx="834438" cy="834438"/>
          </a:xfrm>
          <a:prstGeom prst="rect">
            <a:avLst/>
          </a:prstGeom>
        </p:spPr>
      </p:pic>
      <p:pic>
        <p:nvPicPr>
          <p:cNvPr id="120" name="Picture 119" descr="Icon&#10;&#10;Description automatically generated">
            <a:extLst>
              <a:ext uri="{FF2B5EF4-FFF2-40B4-BE49-F238E27FC236}">
                <a16:creationId xmlns:a16="http://schemas.microsoft.com/office/drawing/2014/main" id="{49BFD4B1-8E8B-104B-9842-EE3F3160B713}"/>
              </a:ext>
            </a:extLst>
          </p:cNvPr>
          <p:cNvPicPr>
            <a:picLocks noChangeAspect="1"/>
          </p:cNvPicPr>
          <p:nvPr userDrawn="1"/>
        </p:nvPicPr>
        <p:blipFill>
          <a:blip r:embed="rId59"/>
          <a:stretch>
            <a:fillRect/>
          </a:stretch>
        </p:blipFill>
        <p:spPr>
          <a:xfrm>
            <a:off x="6260160" y="5635410"/>
            <a:ext cx="834438" cy="834438"/>
          </a:xfrm>
          <a:prstGeom prst="rect">
            <a:avLst/>
          </a:prstGeom>
        </p:spPr>
      </p:pic>
      <p:pic>
        <p:nvPicPr>
          <p:cNvPr id="122" name="Picture 121" descr="Icon&#10;&#10;Description automatically generated">
            <a:extLst>
              <a:ext uri="{FF2B5EF4-FFF2-40B4-BE49-F238E27FC236}">
                <a16:creationId xmlns:a16="http://schemas.microsoft.com/office/drawing/2014/main" id="{7EFD5BE6-EC4B-EEA8-DAAC-DCF2C32C9BC4}"/>
              </a:ext>
            </a:extLst>
          </p:cNvPr>
          <p:cNvPicPr>
            <a:picLocks noChangeAspect="1"/>
          </p:cNvPicPr>
          <p:nvPr userDrawn="1"/>
        </p:nvPicPr>
        <p:blipFill>
          <a:blip r:embed="rId60"/>
          <a:stretch>
            <a:fillRect/>
          </a:stretch>
        </p:blipFill>
        <p:spPr>
          <a:xfrm>
            <a:off x="7270281" y="5635410"/>
            <a:ext cx="834438" cy="834438"/>
          </a:xfrm>
          <a:prstGeom prst="rect">
            <a:avLst/>
          </a:prstGeom>
        </p:spPr>
      </p:pic>
      <p:pic>
        <p:nvPicPr>
          <p:cNvPr id="124" name="Picture 123" descr="Icon&#10;&#10;Description automatically generated">
            <a:extLst>
              <a:ext uri="{FF2B5EF4-FFF2-40B4-BE49-F238E27FC236}">
                <a16:creationId xmlns:a16="http://schemas.microsoft.com/office/drawing/2014/main" id="{69778602-72B8-4DC0-5199-CB57E6BA4926}"/>
              </a:ext>
            </a:extLst>
          </p:cNvPr>
          <p:cNvPicPr>
            <a:picLocks noChangeAspect="1"/>
          </p:cNvPicPr>
          <p:nvPr userDrawn="1"/>
        </p:nvPicPr>
        <p:blipFill>
          <a:blip r:embed="rId61"/>
          <a:stretch>
            <a:fillRect/>
          </a:stretch>
        </p:blipFill>
        <p:spPr>
          <a:xfrm>
            <a:off x="10965731" y="115833"/>
            <a:ext cx="834438" cy="834438"/>
          </a:xfrm>
          <a:prstGeom prst="rect">
            <a:avLst/>
          </a:prstGeom>
        </p:spPr>
      </p:pic>
      <p:pic>
        <p:nvPicPr>
          <p:cNvPr id="126" name="Picture 125" descr="Icon&#10;&#10;Description automatically generated">
            <a:extLst>
              <a:ext uri="{FF2B5EF4-FFF2-40B4-BE49-F238E27FC236}">
                <a16:creationId xmlns:a16="http://schemas.microsoft.com/office/drawing/2014/main" id="{86BD9F1C-59B3-0D76-3401-D419D792C545}"/>
              </a:ext>
            </a:extLst>
          </p:cNvPr>
          <p:cNvPicPr>
            <a:picLocks noChangeAspect="1"/>
          </p:cNvPicPr>
          <p:nvPr userDrawn="1"/>
        </p:nvPicPr>
        <p:blipFill>
          <a:blip r:embed="rId62"/>
          <a:stretch>
            <a:fillRect/>
          </a:stretch>
        </p:blipFill>
        <p:spPr>
          <a:xfrm>
            <a:off x="9290523" y="5635410"/>
            <a:ext cx="834438" cy="834438"/>
          </a:xfrm>
          <a:prstGeom prst="rect">
            <a:avLst/>
          </a:prstGeom>
        </p:spPr>
      </p:pic>
      <p:pic>
        <p:nvPicPr>
          <p:cNvPr id="128" name="Picture 127" descr="Icon&#10;&#10;Description automatically generated">
            <a:extLst>
              <a:ext uri="{FF2B5EF4-FFF2-40B4-BE49-F238E27FC236}">
                <a16:creationId xmlns:a16="http://schemas.microsoft.com/office/drawing/2014/main" id="{8672A1F9-C7A4-F6A1-C2D3-2D4EF9527C28}"/>
              </a:ext>
            </a:extLst>
          </p:cNvPr>
          <p:cNvPicPr>
            <a:picLocks noChangeAspect="1"/>
          </p:cNvPicPr>
          <p:nvPr userDrawn="1"/>
        </p:nvPicPr>
        <p:blipFill>
          <a:blip r:embed="rId63"/>
          <a:stretch>
            <a:fillRect/>
          </a:stretch>
        </p:blipFill>
        <p:spPr>
          <a:xfrm>
            <a:off x="5250039" y="5635410"/>
            <a:ext cx="834438" cy="834438"/>
          </a:xfrm>
          <a:prstGeom prst="rect">
            <a:avLst/>
          </a:prstGeom>
        </p:spPr>
      </p:pic>
      <p:pic>
        <p:nvPicPr>
          <p:cNvPr id="130" name="Picture 129" descr="Icon&#10;&#10;Description automatically generated">
            <a:extLst>
              <a:ext uri="{FF2B5EF4-FFF2-40B4-BE49-F238E27FC236}">
                <a16:creationId xmlns:a16="http://schemas.microsoft.com/office/drawing/2014/main" id="{B682086C-C956-46F6-BE8B-FC647D9F252F}"/>
              </a:ext>
            </a:extLst>
          </p:cNvPr>
          <p:cNvPicPr>
            <a:picLocks noChangeAspect="1"/>
          </p:cNvPicPr>
          <p:nvPr userDrawn="1"/>
        </p:nvPicPr>
        <p:blipFill>
          <a:blip r:embed="rId64"/>
          <a:stretch>
            <a:fillRect/>
          </a:stretch>
        </p:blipFill>
        <p:spPr>
          <a:xfrm>
            <a:off x="11310765" y="5635410"/>
            <a:ext cx="834438" cy="834438"/>
          </a:xfrm>
          <a:prstGeom prst="rect">
            <a:avLst/>
          </a:prstGeom>
        </p:spPr>
      </p:pic>
      <p:sp>
        <p:nvSpPr>
          <p:cNvPr id="131" name="Title 130">
            <a:extLst>
              <a:ext uri="{FF2B5EF4-FFF2-40B4-BE49-F238E27FC236}">
                <a16:creationId xmlns:a16="http://schemas.microsoft.com/office/drawing/2014/main" id="{F61F2519-926F-FFD3-02F2-1380E0337D4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9440" y="239904"/>
            <a:ext cx="10668000" cy="461665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IPDS Official Icon Library</a:t>
            </a:r>
          </a:p>
        </p:txBody>
      </p:sp>
      <p:graphicFrame>
        <p:nvGraphicFramePr>
          <p:cNvPr id="132" name="Table 132">
            <a:extLst>
              <a:ext uri="{FF2B5EF4-FFF2-40B4-BE49-F238E27FC236}">
                <a16:creationId xmlns:a16="http://schemas.microsoft.com/office/drawing/2014/main" id="{FC63E642-3A72-1EFB-FB6D-4A79614440B7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348174233"/>
              </p:ext>
            </p:extLst>
          </p:nvPr>
        </p:nvGraphicFramePr>
        <p:xfrm>
          <a:off x="13846" y="1639096"/>
          <a:ext cx="12164292" cy="64008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013691">
                  <a:extLst>
                    <a:ext uri="{9D8B030D-6E8A-4147-A177-3AD203B41FA5}">
                      <a16:colId xmlns:a16="http://schemas.microsoft.com/office/drawing/2014/main" val="1003571747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3482998488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134859111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1433254674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1690815268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2670145652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2878605161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4075299308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4288066537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2993794877"/>
                    </a:ext>
                  </a:extLst>
                </a:gridCol>
                <a:gridCol w="1187804">
                  <a:extLst>
                    <a:ext uri="{9D8B030D-6E8A-4147-A177-3AD203B41FA5}">
                      <a16:colId xmlns:a16="http://schemas.microsoft.com/office/drawing/2014/main" val="3089528634"/>
                    </a:ext>
                  </a:extLst>
                </a:gridCol>
                <a:gridCol w="839578">
                  <a:extLst>
                    <a:ext uri="{9D8B030D-6E8A-4147-A177-3AD203B41FA5}">
                      <a16:colId xmlns:a16="http://schemas.microsoft.com/office/drawing/2014/main" val="2816963223"/>
                    </a:ext>
                  </a:extLst>
                </a:gridCol>
              </a:tblGrid>
              <a:tr h="298633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laptop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comput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Clo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Cloud migr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Backup &amp; recovery/</a:t>
                      </a:r>
                      <a:r>
                        <a:rPr lang="en-US" sz="1200" b="0" err="1"/>
                        <a:t>BUaaS</a:t>
                      </a:r>
                      <a:endParaRPr lang="en-US" sz="12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Analytic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Advanced services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anaged servi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 err="1"/>
                        <a:t>microsoft</a:t>
                      </a:r>
                      <a:endParaRPr lang="en-US" sz="12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oderniz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Network virtual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anaged respons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2120434"/>
                  </a:ext>
                </a:extLst>
              </a:tr>
            </a:tbl>
          </a:graphicData>
        </a:graphic>
      </p:graphicFrame>
      <p:graphicFrame>
        <p:nvGraphicFramePr>
          <p:cNvPr id="136" name="Table 132">
            <a:extLst>
              <a:ext uri="{FF2B5EF4-FFF2-40B4-BE49-F238E27FC236}">
                <a16:creationId xmlns:a16="http://schemas.microsoft.com/office/drawing/2014/main" id="{9FAABCA0-24A7-126B-751A-52E3C4B1F23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4185540517"/>
              </p:ext>
            </p:extLst>
          </p:nvPr>
        </p:nvGraphicFramePr>
        <p:xfrm>
          <a:off x="13846" y="2973419"/>
          <a:ext cx="12164292" cy="45720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954063">
                  <a:extLst>
                    <a:ext uri="{9D8B030D-6E8A-4147-A177-3AD203B41FA5}">
                      <a16:colId xmlns:a16="http://schemas.microsoft.com/office/drawing/2014/main" val="1003571747"/>
                    </a:ext>
                  </a:extLst>
                </a:gridCol>
                <a:gridCol w="962526">
                  <a:extLst>
                    <a:ext uri="{9D8B030D-6E8A-4147-A177-3AD203B41FA5}">
                      <a16:colId xmlns:a16="http://schemas.microsoft.com/office/drawing/2014/main" val="3482998488"/>
                    </a:ext>
                  </a:extLst>
                </a:gridCol>
                <a:gridCol w="1068404">
                  <a:extLst>
                    <a:ext uri="{9D8B030D-6E8A-4147-A177-3AD203B41FA5}">
                      <a16:colId xmlns:a16="http://schemas.microsoft.com/office/drawing/2014/main" val="134859111"/>
                    </a:ext>
                  </a:extLst>
                </a:gridCol>
                <a:gridCol w="924026">
                  <a:extLst>
                    <a:ext uri="{9D8B030D-6E8A-4147-A177-3AD203B41FA5}">
                      <a16:colId xmlns:a16="http://schemas.microsoft.com/office/drawing/2014/main" val="1433254674"/>
                    </a:ext>
                  </a:extLst>
                </a:gridCol>
                <a:gridCol w="1087654">
                  <a:extLst>
                    <a:ext uri="{9D8B030D-6E8A-4147-A177-3AD203B41FA5}">
                      <a16:colId xmlns:a16="http://schemas.microsoft.com/office/drawing/2014/main" val="1690815268"/>
                    </a:ext>
                  </a:extLst>
                </a:gridCol>
                <a:gridCol w="1164657">
                  <a:extLst>
                    <a:ext uri="{9D8B030D-6E8A-4147-A177-3AD203B41FA5}">
                      <a16:colId xmlns:a16="http://schemas.microsoft.com/office/drawing/2014/main" val="2670145652"/>
                    </a:ext>
                  </a:extLst>
                </a:gridCol>
                <a:gridCol w="934507">
                  <a:extLst>
                    <a:ext uri="{9D8B030D-6E8A-4147-A177-3AD203B41FA5}">
                      <a16:colId xmlns:a16="http://schemas.microsoft.com/office/drawing/2014/main" val="2878605161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4075299308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4288066537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2993794877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3089528634"/>
                    </a:ext>
                  </a:extLst>
                </a:gridCol>
                <a:gridCol w="1013691">
                  <a:extLst>
                    <a:ext uri="{9D8B030D-6E8A-4147-A177-3AD203B41FA5}">
                      <a16:colId xmlns:a16="http://schemas.microsoft.com/office/drawing/2014/main" val="2816963223"/>
                    </a:ext>
                  </a:extLst>
                </a:gridCol>
              </a:tblGrid>
              <a:tr h="298633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Business continu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Advanced networ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IPDS Concier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IPDS Concier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infrastructu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Consumption pric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contain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Big data &amp; analytic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an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Professional servic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ata prote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ata remediation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2120434"/>
                  </a:ext>
                </a:extLst>
              </a:tr>
            </a:tbl>
          </a:graphicData>
        </a:graphic>
      </p:graphicFrame>
      <p:graphicFrame>
        <p:nvGraphicFramePr>
          <p:cNvPr id="137" name="Table 132">
            <a:extLst>
              <a:ext uri="{FF2B5EF4-FFF2-40B4-BE49-F238E27FC236}">
                <a16:creationId xmlns:a16="http://schemas.microsoft.com/office/drawing/2014/main" id="{217002B3-DEFB-6C16-F954-0F250A8BB536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245680513"/>
              </p:ext>
            </p:extLst>
          </p:nvPr>
        </p:nvGraphicFramePr>
        <p:xfrm>
          <a:off x="-8" y="4148160"/>
          <a:ext cx="12192000" cy="45720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016000">
                  <a:extLst>
                    <a:ext uri="{9D8B030D-6E8A-4147-A177-3AD203B41FA5}">
                      <a16:colId xmlns:a16="http://schemas.microsoft.com/office/drawing/2014/main" val="1003571747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3482998488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134859111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1433254674"/>
                    </a:ext>
                  </a:extLst>
                </a:gridCol>
                <a:gridCol w="893013">
                  <a:extLst>
                    <a:ext uri="{9D8B030D-6E8A-4147-A177-3AD203B41FA5}">
                      <a16:colId xmlns:a16="http://schemas.microsoft.com/office/drawing/2014/main" val="1690815268"/>
                    </a:ext>
                  </a:extLst>
                </a:gridCol>
                <a:gridCol w="1138987">
                  <a:extLst>
                    <a:ext uri="{9D8B030D-6E8A-4147-A177-3AD203B41FA5}">
                      <a16:colId xmlns:a16="http://schemas.microsoft.com/office/drawing/2014/main" val="2670145652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2878605161"/>
                    </a:ext>
                  </a:extLst>
                </a:gridCol>
                <a:gridCol w="944347">
                  <a:extLst>
                    <a:ext uri="{9D8B030D-6E8A-4147-A177-3AD203B41FA5}">
                      <a16:colId xmlns:a16="http://schemas.microsoft.com/office/drawing/2014/main" val="4075299308"/>
                    </a:ext>
                  </a:extLst>
                </a:gridCol>
                <a:gridCol w="933651">
                  <a:extLst>
                    <a:ext uri="{9D8B030D-6E8A-4147-A177-3AD203B41FA5}">
                      <a16:colId xmlns:a16="http://schemas.microsoft.com/office/drawing/2014/main" val="4288066537"/>
                    </a:ext>
                  </a:extLst>
                </a:gridCol>
                <a:gridCol w="1039528">
                  <a:extLst>
                    <a:ext uri="{9D8B030D-6E8A-4147-A177-3AD203B41FA5}">
                      <a16:colId xmlns:a16="http://schemas.microsoft.com/office/drawing/2014/main" val="2993794877"/>
                    </a:ext>
                  </a:extLst>
                </a:gridCol>
                <a:gridCol w="1058779">
                  <a:extLst>
                    <a:ext uri="{9D8B030D-6E8A-4147-A177-3AD203B41FA5}">
                      <a16:colId xmlns:a16="http://schemas.microsoft.com/office/drawing/2014/main" val="3089528634"/>
                    </a:ext>
                  </a:extLst>
                </a:gridCol>
                <a:gridCol w="1103695">
                  <a:extLst>
                    <a:ext uri="{9D8B030D-6E8A-4147-A177-3AD203B41FA5}">
                      <a16:colId xmlns:a16="http://schemas.microsoft.com/office/drawing/2014/main" val="2816963223"/>
                    </a:ext>
                  </a:extLst>
                </a:gridCol>
              </a:tblGrid>
              <a:tr h="298633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Advanced services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isaster recove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sig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plo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liv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ata center virtual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Private clo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network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Managed dete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optim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ata governanc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ata observability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2120434"/>
                  </a:ext>
                </a:extLst>
              </a:tr>
            </a:tbl>
          </a:graphicData>
        </a:graphic>
      </p:graphicFrame>
      <p:graphicFrame>
        <p:nvGraphicFramePr>
          <p:cNvPr id="138" name="Table 132">
            <a:extLst>
              <a:ext uri="{FF2B5EF4-FFF2-40B4-BE49-F238E27FC236}">
                <a16:creationId xmlns:a16="http://schemas.microsoft.com/office/drawing/2014/main" id="{29DC1751-940C-BF7A-7682-B5AB4AEEDFA2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433472733"/>
              </p:ext>
            </p:extLst>
          </p:nvPr>
        </p:nvGraphicFramePr>
        <p:xfrm>
          <a:off x="27707" y="5344373"/>
          <a:ext cx="12117492" cy="45720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117693">
                  <a:extLst>
                    <a:ext uri="{9D8B030D-6E8A-4147-A177-3AD203B41FA5}">
                      <a16:colId xmlns:a16="http://schemas.microsoft.com/office/drawing/2014/main" val="1003571747"/>
                    </a:ext>
                  </a:extLst>
                </a:gridCol>
                <a:gridCol w="901889">
                  <a:extLst>
                    <a:ext uri="{9D8B030D-6E8A-4147-A177-3AD203B41FA5}">
                      <a16:colId xmlns:a16="http://schemas.microsoft.com/office/drawing/2014/main" val="3482998488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134859111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1433254674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1690815268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2670145652"/>
                    </a:ext>
                  </a:extLst>
                </a:gridCol>
                <a:gridCol w="1170989">
                  <a:extLst>
                    <a:ext uri="{9D8B030D-6E8A-4147-A177-3AD203B41FA5}">
                      <a16:colId xmlns:a16="http://schemas.microsoft.com/office/drawing/2014/main" val="2878605161"/>
                    </a:ext>
                  </a:extLst>
                </a:gridCol>
                <a:gridCol w="848593">
                  <a:extLst>
                    <a:ext uri="{9D8B030D-6E8A-4147-A177-3AD203B41FA5}">
                      <a16:colId xmlns:a16="http://schemas.microsoft.com/office/drawing/2014/main" val="4075299308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4288066537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2993794877"/>
                    </a:ext>
                  </a:extLst>
                </a:gridCol>
                <a:gridCol w="1078183">
                  <a:extLst>
                    <a:ext uri="{9D8B030D-6E8A-4147-A177-3AD203B41FA5}">
                      <a16:colId xmlns:a16="http://schemas.microsoft.com/office/drawing/2014/main" val="3089528634"/>
                    </a:ext>
                  </a:extLst>
                </a:gridCol>
                <a:gridCol w="941399">
                  <a:extLst>
                    <a:ext uri="{9D8B030D-6E8A-4147-A177-3AD203B41FA5}">
                      <a16:colId xmlns:a16="http://schemas.microsoft.com/office/drawing/2014/main" val="2816963223"/>
                    </a:ext>
                  </a:extLst>
                </a:gridCol>
              </a:tblGrid>
              <a:tr h="298633">
                <a:tc>
                  <a:txBody>
                    <a:bodyPr/>
                    <a:lstStyle/>
                    <a:p>
                      <a:pPr algn="ctr"/>
                      <a:r>
                        <a:rPr lang="en-US" sz="1200" b="0" err="1"/>
                        <a:t>Implemen-tation</a:t>
                      </a:r>
                      <a:endParaRPr lang="en-US" sz="12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Enterprise sto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Impl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Hyper-converg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Hybrid clou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HP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Flexible target op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eep lear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Data sto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Public cloud acce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Ransomware recover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curity awarenes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2120434"/>
                  </a:ext>
                </a:extLst>
              </a:tr>
            </a:tbl>
          </a:graphicData>
        </a:graphic>
      </p:graphicFrame>
      <p:graphicFrame>
        <p:nvGraphicFramePr>
          <p:cNvPr id="139" name="Table 132">
            <a:extLst>
              <a:ext uri="{FF2B5EF4-FFF2-40B4-BE49-F238E27FC236}">
                <a16:creationId xmlns:a16="http://schemas.microsoft.com/office/drawing/2014/main" id="{E8651C71-E0BB-8D94-7666-E3BE8021098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573906445"/>
              </p:ext>
            </p:extLst>
          </p:nvPr>
        </p:nvGraphicFramePr>
        <p:xfrm>
          <a:off x="27706" y="6390936"/>
          <a:ext cx="12117492" cy="45720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069568">
                  <a:extLst>
                    <a:ext uri="{9D8B030D-6E8A-4147-A177-3AD203B41FA5}">
                      <a16:colId xmlns:a16="http://schemas.microsoft.com/office/drawing/2014/main" val="1003571747"/>
                    </a:ext>
                  </a:extLst>
                </a:gridCol>
                <a:gridCol w="950014">
                  <a:extLst>
                    <a:ext uri="{9D8B030D-6E8A-4147-A177-3AD203B41FA5}">
                      <a16:colId xmlns:a16="http://schemas.microsoft.com/office/drawing/2014/main" val="3482998488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134859111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1433254674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1690815268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2670145652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2878605161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4075299308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4288066537"/>
                    </a:ext>
                  </a:extLst>
                </a:gridCol>
                <a:gridCol w="1125449">
                  <a:extLst>
                    <a:ext uri="{9D8B030D-6E8A-4147-A177-3AD203B41FA5}">
                      <a16:colId xmlns:a16="http://schemas.microsoft.com/office/drawing/2014/main" val="2993794877"/>
                    </a:ext>
                  </a:extLst>
                </a:gridCol>
                <a:gridCol w="894133">
                  <a:extLst>
                    <a:ext uri="{9D8B030D-6E8A-4147-A177-3AD203B41FA5}">
                      <a16:colId xmlns:a16="http://schemas.microsoft.com/office/drawing/2014/main" val="3089528634"/>
                    </a:ext>
                  </a:extLst>
                </a:gridCol>
                <a:gridCol w="1009791">
                  <a:extLst>
                    <a:ext uri="{9D8B030D-6E8A-4147-A177-3AD203B41FA5}">
                      <a16:colId xmlns:a16="http://schemas.microsoft.com/office/drawing/2014/main" val="2816963223"/>
                    </a:ext>
                  </a:extLst>
                </a:gridCol>
              </a:tblGrid>
              <a:tr h="298633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rver virtualiz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oftwar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treamli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transform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Universal storag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Worry free opera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VDI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White glove suppor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Public cloud acce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worksta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securit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Zero trus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2120434"/>
                  </a:ext>
                </a:extLst>
              </a:tr>
            </a:tbl>
          </a:graphicData>
        </a:graphic>
      </p:graphicFrame>
      <p:graphicFrame>
        <p:nvGraphicFramePr>
          <p:cNvPr id="140" name="Table 132">
            <a:extLst>
              <a:ext uri="{FF2B5EF4-FFF2-40B4-BE49-F238E27FC236}">
                <a16:creationId xmlns:a16="http://schemas.microsoft.com/office/drawing/2014/main" id="{3BEBB932-EAC2-8783-0C2B-2A70DE313DF9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14092239"/>
              </p:ext>
            </p:extLst>
          </p:nvPr>
        </p:nvGraphicFramePr>
        <p:xfrm>
          <a:off x="-8" y="1596714"/>
          <a:ext cx="12192000" cy="274320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1016000">
                  <a:extLst>
                    <a:ext uri="{9D8B030D-6E8A-4147-A177-3AD203B41FA5}">
                      <a16:colId xmlns:a16="http://schemas.microsoft.com/office/drawing/2014/main" val="1003571747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3482998488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134859111"/>
                    </a:ext>
                  </a:extLst>
                </a:gridCol>
                <a:gridCol w="888739">
                  <a:extLst>
                    <a:ext uri="{9D8B030D-6E8A-4147-A177-3AD203B41FA5}">
                      <a16:colId xmlns:a16="http://schemas.microsoft.com/office/drawing/2014/main" val="1433254674"/>
                    </a:ext>
                  </a:extLst>
                </a:gridCol>
                <a:gridCol w="1309035">
                  <a:extLst>
                    <a:ext uri="{9D8B030D-6E8A-4147-A177-3AD203B41FA5}">
                      <a16:colId xmlns:a16="http://schemas.microsoft.com/office/drawing/2014/main" val="1690815268"/>
                    </a:ext>
                  </a:extLst>
                </a:gridCol>
                <a:gridCol w="850226">
                  <a:extLst>
                    <a:ext uri="{9D8B030D-6E8A-4147-A177-3AD203B41FA5}">
                      <a16:colId xmlns:a16="http://schemas.microsoft.com/office/drawing/2014/main" val="2670145652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2878605161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4075299308"/>
                    </a:ext>
                  </a:extLst>
                </a:gridCol>
                <a:gridCol w="1016000">
                  <a:extLst>
                    <a:ext uri="{9D8B030D-6E8A-4147-A177-3AD203B41FA5}">
                      <a16:colId xmlns:a16="http://schemas.microsoft.com/office/drawing/2014/main" val="4288066537"/>
                    </a:ext>
                  </a:extLst>
                </a:gridCol>
                <a:gridCol w="789280">
                  <a:extLst>
                    <a:ext uri="{9D8B030D-6E8A-4147-A177-3AD203B41FA5}">
                      <a16:colId xmlns:a16="http://schemas.microsoft.com/office/drawing/2014/main" val="2993794877"/>
                    </a:ext>
                  </a:extLst>
                </a:gridCol>
                <a:gridCol w="1405288">
                  <a:extLst>
                    <a:ext uri="{9D8B030D-6E8A-4147-A177-3AD203B41FA5}">
                      <a16:colId xmlns:a16="http://schemas.microsoft.com/office/drawing/2014/main" val="3089528634"/>
                    </a:ext>
                  </a:extLst>
                </a:gridCol>
                <a:gridCol w="853432">
                  <a:extLst>
                    <a:ext uri="{9D8B030D-6E8A-4147-A177-3AD203B41FA5}">
                      <a16:colId xmlns:a16="http://schemas.microsoft.com/office/drawing/2014/main" val="2816963223"/>
                    </a:ext>
                  </a:extLst>
                </a:gridCol>
              </a:tblGrid>
              <a:tr h="199452">
                <a:tc>
                  <a:txBody>
                    <a:bodyPr/>
                    <a:lstStyle/>
                    <a:p>
                      <a:pPr algn="ctr"/>
                      <a:endParaRPr lang="en-US" sz="1200" b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n-US" sz="120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22120434"/>
                  </a:ext>
                </a:extLst>
              </a:tr>
            </a:tbl>
          </a:graphicData>
        </a:graphic>
      </p:graphicFrame>
      <p:graphicFrame>
        <p:nvGraphicFramePr>
          <p:cNvPr id="141" name="Table 140">
            <a:extLst>
              <a:ext uri="{FF2B5EF4-FFF2-40B4-BE49-F238E27FC236}">
                <a16:creationId xmlns:a16="http://schemas.microsoft.com/office/drawing/2014/main" id="{5B1E3BB4-FD61-8E58-6A9F-8C4EB870706E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573991404"/>
              </p:ext>
            </p:extLst>
          </p:nvPr>
        </p:nvGraphicFramePr>
        <p:xfrm>
          <a:off x="4908884" y="363589"/>
          <a:ext cx="6792993" cy="298633"/>
        </p:xfrm>
        <a:graphic>
          <a:graphicData uri="http://schemas.openxmlformats.org/drawingml/2006/table">
            <a:tbl>
              <a:tblPr firstRow="1" bandRow="1">
                <a:tableStyleId>{5FD0F851-EC5A-4D38-B0AD-8093EC10F338}</a:tableStyleId>
              </a:tblPr>
              <a:tblGrid>
                <a:gridCol w="2264331">
                  <a:extLst>
                    <a:ext uri="{9D8B030D-6E8A-4147-A177-3AD203B41FA5}">
                      <a16:colId xmlns:a16="http://schemas.microsoft.com/office/drawing/2014/main" val="3964316394"/>
                    </a:ext>
                  </a:extLst>
                </a:gridCol>
                <a:gridCol w="2264331">
                  <a:extLst>
                    <a:ext uri="{9D8B030D-6E8A-4147-A177-3AD203B41FA5}">
                      <a16:colId xmlns:a16="http://schemas.microsoft.com/office/drawing/2014/main" val="2357295557"/>
                    </a:ext>
                  </a:extLst>
                </a:gridCol>
                <a:gridCol w="2264331">
                  <a:extLst>
                    <a:ext uri="{9D8B030D-6E8A-4147-A177-3AD203B41FA5}">
                      <a16:colId xmlns:a16="http://schemas.microsoft.com/office/drawing/2014/main" val="2497485811"/>
                    </a:ext>
                  </a:extLst>
                </a:gridCol>
              </a:tblGrid>
              <a:tr h="298633"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IPDS Section Head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IPDS Bulle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0"/>
                        <a:t>workforc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1380960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284941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in Motion - Section Header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1E4C48BF-1FAE-669A-BA96-4DEF4B4615C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983538" y="-2"/>
            <a:ext cx="4208462" cy="6858002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720000" tIns="0" rIns="720000" bIns="0" rtlCol="0" anchor="ctr">
            <a:noAutofit/>
          </a:bodyPr>
          <a:lstStyle>
            <a:lvl1pPr algn="ctr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63636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3" name="Text Placeholder 62">
            <a:extLst>
              <a:ext uri="{FF2B5EF4-FFF2-40B4-BE49-F238E27FC236}">
                <a16:creationId xmlns:a16="http://schemas.microsoft.com/office/drawing/2014/main" id="{FC38891E-2373-4703-B98E-A73D15DAE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825" y="5169889"/>
            <a:ext cx="6158179" cy="3371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1800" b="1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9BE12E6-4173-4FFC-8695-DE825B53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3225800"/>
            <a:ext cx="6162676" cy="180921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 Section Title</a:t>
            </a:r>
            <a:endParaRPr lang="en-GB"/>
          </a:p>
        </p:txBody>
      </p:sp>
      <p:pic>
        <p:nvPicPr>
          <p:cNvPr id="6" name="Picture 5" descr="A close up of a green fabric&#10;&#10;Description automatically generated with low confidence">
            <a:extLst>
              <a:ext uri="{FF2B5EF4-FFF2-40B4-BE49-F238E27FC236}">
                <a16:creationId xmlns:a16="http://schemas.microsoft.com/office/drawing/2014/main" id="{FDD2DEA4-19D6-CD2F-E980-48A78F9B340E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988034" y="-2"/>
            <a:ext cx="4203966" cy="6858000"/>
          </a:xfrm>
          <a:prstGeom prst="rect">
            <a:avLst/>
          </a:prstGeom>
        </p:spPr>
      </p:pic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FB97561A-E505-C0FB-2AE7-B18F3C255812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8824" y="398128"/>
            <a:ext cx="2229211" cy="7189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3793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in Motion - Section Header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69188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3" name="Text Placeholder 62">
            <a:extLst>
              <a:ext uri="{FF2B5EF4-FFF2-40B4-BE49-F238E27FC236}">
                <a16:creationId xmlns:a16="http://schemas.microsoft.com/office/drawing/2014/main" id="{FC38891E-2373-4703-B98E-A73D15DAE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825" y="5169889"/>
            <a:ext cx="6158179" cy="3371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1800" b="1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9BE12E6-4173-4FFC-8695-DE825B53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3225800"/>
            <a:ext cx="6162676" cy="180921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 Section Title</a:t>
            </a:r>
            <a:endParaRPr lang="en-GB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546135F0-47DC-BC8D-DBE7-DF675A2CDE69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983538" y="-2"/>
            <a:ext cx="4208462" cy="6858002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720000" tIns="0" rIns="720000" bIns="0" rtlCol="0" anchor="ctr">
            <a:noAutofit/>
          </a:bodyPr>
          <a:lstStyle>
            <a:lvl1pPr algn="ctr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3805869-2CB9-E23E-B82D-F0A12057413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8049"/>
          <a:stretch/>
        </p:blipFill>
        <p:spPr>
          <a:xfrm>
            <a:off x="7988034" y="-2"/>
            <a:ext cx="4203966" cy="6858000"/>
          </a:xfrm>
          <a:prstGeom prst="rect">
            <a:avLst/>
          </a:prstGeom>
        </p:spPr>
      </p:pic>
      <p:pic>
        <p:nvPicPr>
          <p:cNvPr id="5" name="Picture 4" descr="Icon&#10;&#10;Description automatically generated with medium confidence">
            <a:extLst>
              <a:ext uri="{FF2B5EF4-FFF2-40B4-BE49-F238E27FC236}">
                <a16:creationId xmlns:a16="http://schemas.microsoft.com/office/drawing/2014/main" id="{F56917B7-9EAB-04EA-1CBE-EB43EABDCBA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8824" y="398128"/>
            <a:ext cx="2229211" cy="7189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32595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in Motion - Section Header 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739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3" name="Text Placeholder 62">
            <a:extLst>
              <a:ext uri="{FF2B5EF4-FFF2-40B4-BE49-F238E27FC236}">
                <a16:creationId xmlns:a16="http://schemas.microsoft.com/office/drawing/2014/main" id="{FC38891E-2373-4703-B98E-A73D15DAE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825" y="5169889"/>
            <a:ext cx="6158179" cy="3371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1800" b="1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9BE12E6-4173-4FFC-8695-DE825B53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3225800"/>
            <a:ext cx="6162676" cy="1809216"/>
          </a:xfrm>
        </p:spPr>
        <p:txBody>
          <a:bodyPr anchor="b"/>
          <a:lstStyle>
            <a:lvl1pPr>
              <a:defRPr/>
            </a:lvl1pPr>
          </a:lstStyle>
          <a:p>
            <a:r>
              <a:rPr lang="en-US"/>
              <a:t>Click To Add Section Title</a:t>
            </a:r>
            <a:endParaRPr lang="en-GB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9C53C964-E82A-10B3-8D88-0397E56E5948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983538" y="-2"/>
            <a:ext cx="4208462" cy="6858002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720000" tIns="0" rIns="720000" bIns="0" rtlCol="0" anchor="ctr">
            <a:noAutofit/>
          </a:bodyPr>
          <a:lstStyle>
            <a:lvl1pPr algn="ctr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516067BD-8D78-8F56-C56C-EB9D53FD5EA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34800" r="24279"/>
          <a:stretch/>
        </p:blipFill>
        <p:spPr>
          <a:xfrm>
            <a:off x="7988034" y="-2"/>
            <a:ext cx="4203966" cy="6858000"/>
          </a:xfrm>
          <a:prstGeom prst="rect">
            <a:avLst/>
          </a:prstGeom>
        </p:spPr>
      </p:pic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C936A054-232F-ABA6-BFBB-DD6D669DD845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8824" y="398128"/>
            <a:ext cx="2229211" cy="7189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85918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77398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3" name="Text Placeholder 62">
            <a:extLst>
              <a:ext uri="{FF2B5EF4-FFF2-40B4-BE49-F238E27FC236}">
                <a16:creationId xmlns:a16="http://schemas.microsoft.com/office/drawing/2014/main" id="{FC38891E-2373-4703-B98E-A73D15DAE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37945" y="614938"/>
            <a:ext cx="556895" cy="45875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01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9BE12E6-4173-4FFC-8695-DE825B53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94800" y="5775959"/>
            <a:ext cx="2354580" cy="467103"/>
          </a:xfrm>
        </p:spPr>
        <p:txBody>
          <a:bodyPr anchor="b"/>
          <a:lstStyle>
            <a:lvl1pPr algn="r"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AGENDA</a:t>
            </a:r>
            <a:endParaRPr lang="en-GB"/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792E246D-6C11-43C9-5884-B1FEEF6BF1C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A0E6C555-ED17-18F1-15C2-0CE9A777CFF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981200" y="641114"/>
            <a:ext cx="8630920" cy="406400"/>
          </a:xfrm>
          <a:prstGeom prst="rect">
            <a:avLst/>
          </a:prstGeom>
        </p:spPr>
        <p:txBody>
          <a:bodyPr anchor="ctr"/>
          <a:lstStyle>
            <a:lvl1pPr>
              <a:defRPr lang="en-US" sz="2800" b="1" kern="1200" spc="0" baseline="0" dirty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INTRO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11DB412-8287-D85E-B3F1-E53E7434FB18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981200" y="1099865"/>
            <a:ext cx="8630920" cy="736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a short description</a:t>
            </a:r>
          </a:p>
        </p:txBody>
      </p:sp>
      <p:sp>
        <p:nvSpPr>
          <p:cNvPr id="12" name="Text Placeholder 62">
            <a:extLst>
              <a:ext uri="{FF2B5EF4-FFF2-40B4-BE49-F238E27FC236}">
                <a16:creationId xmlns:a16="http://schemas.microsoft.com/office/drawing/2014/main" id="{6046B279-166C-5867-1938-DF202210B6DB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337945" y="1991618"/>
            <a:ext cx="556895" cy="45875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02.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563E6ED8-9C5E-8519-1F68-74C6996E682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981200" y="2017794"/>
            <a:ext cx="8630920" cy="406400"/>
          </a:xfrm>
          <a:prstGeom prst="rect">
            <a:avLst/>
          </a:prstGeom>
        </p:spPr>
        <p:txBody>
          <a:bodyPr anchor="ctr"/>
          <a:lstStyle>
            <a:lvl1pPr>
              <a:defRPr lang="en-US" sz="2800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HALLENG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15C1081-0DBF-6539-85D8-21E5F67F890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981200" y="2476545"/>
            <a:ext cx="8630920" cy="736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a short description</a:t>
            </a:r>
          </a:p>
        </p:txBody>
      </p:sp>
      <p:sp>
        <p:nvSpPr>
          <p:cNvPr id="16" name="Text Placeholder 62">
            <a:extLst>
              <a:ext uri="{FF2B5EF4-FFF2-40B4-BE49-F238E27FC236}">
                <a16:creationId xmlns:a16="http://schemas.microsoft.com/office/drawing/2014/main" id="{24A7FE08-0217-9D21-40EA-5EA8FD64C9F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337945" y="3282539"/>
            <a:ext cx="556895" cy="45875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03.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77E67D79-1365-E3AA-F0F6-090ADC7E57B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981200" y="3308715"/>
            <a:ext cx="8630920" cy="406400"/>
          </a:xfrm>
          <a:prstGeom prst="rect">
            <a:avLst/>
          </a:prstGeom>
        </p:spPr>
        <p:txBody>
          <a:bodyPr anchor="ctr"/>
          <a:lstStyle>
            <a:lvl1pPr>
              <a:defRPr lang="en-US" sz="2800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OLUTION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A418977-C1BF-3581-CDFA-FB3BBFB5D3CB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1200" y="3767466"/>
            <a:ext cx="8630920" cy="736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a short description</a:t>
            </a:r>
          </a:p>
        </p:txBody>
      </p:sp>
      <p:sp>
        <p:nvSpPr>
          <p:cNvPr id="19" name="Text Placeholder 62">
            <a:extLst>
              <a:ext uri="{FF2B5EF4-FFF2-40B4-BE49-F238E27FC236}">
                <a16:creationId xmlns:a16="http://schemas.microsoft.com/office/drawing/2014/main" id="{50434ACA-0560-A143-B36E-0432379B448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37945" y="4598159"/>
            <a:ext cx="556895" cy="458751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04.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870C83CA-647A-870C-5A92-2BD690CC098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81200" y="4624335"/>
            <a:ext cx="8630920" cy="406400"/>
          </a:xfrm>
          <a:prstGeom prst="rect">
            <a:avLst/>
          </a:prstGeom>
        </p:spPr>
        <p:txBody>
          <a:bodyPr anchor="ctr"/>
          <a:lstStyle>
            <a:lvl1pPr>
              <a:defRPr lang="en-US" sz="2800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THANK YOU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B768A859-E5D1-58A5-7C3D-9BE3C15E465B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81200" y="5083086"/>
            <a:ext cx="8630920" cy="736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Add a short description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47431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er Intr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Circular Shadow" descr="Shape&#10;&#10;Description automatically generated with low confidence">
            <a:extLst>
              <a:ext uri="{FF2B5EF4-FFF2-40B4-BE49-F238E27FC236}">
                <a16:creationId xmlns:a16="http://schemas.microsoft.com/office/drawing/2014/main" id="{EBCFFF6B-255D-4A56-84AE-61005D68659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77450" y="1820947"/>
            <a:ext cx="2106000" cy="2106000"/>
          </a:xfrm>
          <a:prstGeom prst="rect">
            <a:avLst/>
          </a:prstGeom>
        </p:spPr>
      </p:pic>
      <p:pic>
        <p:nvPicPr>
          <p:cNvPr id="32" name="Circular Shadow" descr="Shape&#10;&#10;Description automatically generated with low confidence">
            <a:extLst>
              <a:ext uri="{FF2B5EF4-FFF2-40B4-BE49-F238E27FC236}">
                <a16:creationId xmlns:a16="http://schemas.microsoft.com/office/drawing/2014/main" id="{13EF80DB-7152-4F9F-8420-FC0773ECD2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0901" y="1820947"/>
            <a:ext cx="2106000" cy="2106000"/>
          </a:xfrm>
          <a:prstGeom prst="rect">
            <a:avLst/>
          </a:prstGeom>
        </p:spPr>
      </p:pic>
      <p:pic>
        <p:nvPicPr>
          <p:cNvPr id="33" name="Circular Shadow" descr="Shape&#10;&#10;Description automatically generated with low confidence">
            <a:extLst>
              <a:ext uri="{FF2B5EF4-FFF2-40B4-BE49-F238E27FC236}">
                <a16:creationId xmlns:a16="http://schemas.microsoft.com/office/drawing/2014/main" id="{0BF89FAA-B782-4BBF-B962-0ACB2AEAA6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8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4051" y="1820947"/>
            <a:ext cx="2106000" cy="2106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6F90A9CE-8C2C-4362-81D9-978132246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wrap="square" lIns="0" tIns="0" rIns="0" bIns="0" anchor="ctr">
            <a:noAutofit/>
          </a:bodyPr>
          <a:lstStyle>
            <a:lvl1pPr>
              <a:defRPr lang="en-GB"/>
            </a:lvl1pPr>
          </a:lstStyle>
          <a:p>
            <a:pPr lvl="0"/>
            <a:r>
              <a:rPr lang="en-US"/>
              <a:t>Click To Add Headline</a:t>
            </a:r>
            <a:endParaRPr lang="en-GB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03DCA3F1-E212-41A0-A8EB-D02602FA6B0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1429549" y="1686995"/>
            <a:ext cx="2106602" cy="2106602"/>
          </a:xfrm>
          <a:prstGeom prst="ellipse">
            <a:avLst/>
          </a:pr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BD428415-45CA-4EC6-A184-B1F7D1462ED0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042699" y="1686995"/>
            <a:ext cx="2106602" cy="2106602"/>
          </a:xfrm>
          <a:prstGeom prst="ellipse">
            <a:avLst/>
          </a:pr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 sz="800" b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AEFA203B-3D8A-40CC-8DAC-FD2BCFC06C7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655849" y="1686995"/>
            <a:ext cx="2106602" cy="2106602"/>
          </a:xfrm>
          <a:prstGeom prst="ellipse">
            <a:avLst/>
          </a:prstGeom>
          <a:solidFill>
            <a:schemeClr val="bg2"/>
          </a:solidFill>
        </p:spPr>
        <p:txBody>
          <a:bodyPr vert="horz" wrap="square" lIns="0" tIns="0" rIns="0" bIns="0" rtlCol="0" anchor="ctr">
            <a:noAutofit/>
          </a:bodyPr>
          <a:lstStyle>
            <a:lvl1pPr algn="ctr">
              <a:defRPr lang="en-GB" sz="8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02051521-8FE0-4395-A61B-4D9AFBEC93D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000" y="3961893"/>
            <a:ext cx="3441700" cy="406400"/>
          </a:xfrm>
          <a:prstGeom prst="rect">
            <a:avLst/>
          </a:prstGeom>
        </p:spPr>
        <p:txBody>
          <a:bodyPr anchor="ctr"/>
          <a:lstStyle>
            <a:lvl1pPr>
              <a:defRPr lang="en-US" sz="1800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28B32A2-5BD6-466E-AB47-9AE7FB8D205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5150" y="3961893"/>
            <a:ext cx="3441700" cy="406400"/>
          </a:xfrm>
          <a:prstGeom prst="rect">
            <a:avLst/>
          </a:prstGeom>
        </p:spPr>
        <p:txBody>
          <a:bodyPr anchor="ctr"/>
          <a:lstStyle>
            <a:lvl1pPr>
              <a:defRPr lang="en-US" sz="1800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BE573537-5D1A-4CA6-9863-FB567F3A507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88300" y="3961893"/>
            <a:ext cx="3441700" cy="406400"/>
          </a:xfrm>
          <a:prstGeom prst="rect">
            <a:avLst/>
          </a:prstGeom>
        </p:spPr>
        <p:txBody>
          <a:bodyPr anchor="ctr"/>
          <a:lstStyle>
            <a:lvl1pPr>
              <a:defRPr lang="en-US" sz="1800" b="1" kern="1200" spc="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Name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139F62F-1C9D-4BAF-AF5D-DE4F0F819A83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62000" y="4533393"/>
            <a:ext cx="3441700" cy="990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Occupation and/or social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6928A6A6-254F-4F7D-9718-4DA776CC31E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375150" y="4533393"/>
            <a:ext cx="3441700" cy="990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Occupation and/or socials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0FA61423-0F16-46B8-B065-FD4A468E046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988300" y="4533393"/>
            <a:ext cx="3441700" cy="990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Occupation and/or socials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7312F5E5-6960-DA7A-C5FE-BE9BF7A9988E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68007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5575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Head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B8F1F65-A0BC-414A-98CC-1E98642ED3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5E5804D-4B38-4558-B6DC-3B786D353B7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62000" y="1663700"/>
            <a:ext cx="10668000" cy="44323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B257D732-35AF-B2F0-C1D2-B9AE90A49FC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31355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864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8B06F70C-CD45-48C8-A087-59345E8272C1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62000" y="1663700"/>
            <a:ext cx="10668000" cy="44323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B9912E19-5913-25A9-A081-C53EA424A67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27934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-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9BA033-9CE1-432A-852C-FE2DF055B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223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9BA033-9CE1-432A-852C-FE2DF055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AFD981-CD66-4113-A2C1-013E9E1A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DEE702-7A6E-41DE-B00C-5DD026BC4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7C96BF03-F5DC-4CCE-93C7-AF468CE3A15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6434B527-8FAF-BAB0-FA09-CC8A22CD6F2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765889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9BA033-9CE1-432A-852C-FE2DF055B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09228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9BA033-9CE1-432A-852C-FE2DF055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AFD981-CD66-4113-A2C1-013E9E1A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DEE702-7A6E-41DE-B00C-5DD026BC46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4C2091B3-1F31-B73E-2B2A-A16828EE244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17572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con&#10;&#10;Description automatically generated with medium confidence">
            <a:extLst>
              <a:ext uri="{FF2B5EF4-FFF2-40B4-BE49-F238E27FC236}">
                <a16:creationId xmlns:a16="http://schemas.microsoft.com/office/drawing/2014/main" id="{76576A80-9803-2D4E-FF71-E596BC02A436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98209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068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2E2EA029-A3E2-4E5C-A802-33043E840CE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825" y="4607929"/>
            <a:ext cx="4348163" cy="3371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1800" b="1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22DD0925-B1BD-4AF0-8808-9194AA03FA5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019800" y="0"/>
            <a:ext cx="6172199" cy="6858000"/>
          </a:xfrm>
          <a:prstGeom prst="rect">
            <a:avLst/>
          </a:prstGeom>
          <a:solidFill>
            <a:schemeClr val="bg2"/>
          </a:solidFill>
        </p:spPr>
        <p:txBody>
          <a:bodyPr lIns="1620000" rIns="1620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36" name="Text Placeholder 62">
            <a:extLst>
              <a:ext uri="{FF2B5EF4-FFF2-40B4-BE49-F238E27FC236}">
                <a16:creationId xmlns:a16="http://schemas.microsoft.com/office/drawing/2014/main" id="{5B6B2447-F3DB-45B4-A1DF-1C8416D839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8824" y="5613015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54" name="Text Placeholder 62">
            <a:extLst>
              <a:ext uri="{FF2B5EF4-FFF2-40B4-BE49-F238E27FC236}">
                <a16:creationId xmlns:a16="http://schemas.microsoft.com/office/drawing/2014/main" id="{BEC36B84-D879-4316-9130-B1615D43AE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8824" y="5880556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B69DF0-A85B-41BC-B934-99683C3DB0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2641600"/>
            <a:ext cx="4348163" cy="1831456"/>
          </a:xfrm>
        </p:spPr>
        <p:txBody>
          <a:bodyPr anchor="b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Add Deck Title</a:t>
            </a:r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5E5CB5-1341-2674-757A-01EAD00CE18B}"/>
              </a:ext>
            </a:extLst>
          </p:cNvPr>
          <p:cNvSpPr txBox="1"/>
          <p:nvPr userDrawn="1"/>
        </p:nvSpPr>
        <p:spPr>
          <a:xfrm>
            <a:off x="3722074" y="1386140"/>
            <a:ext cx="1563687" cy="4043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RN IT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UD AG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5A0702C-85E7-D6C3-8DEE-8FB6D5834547}"/>
              </a:ext>
            </a:extLst>
          </p:cNvPr>
          <p:cNvSpPr/>
          <p:nvPr userDrawn="1"/>
        </p:nvSpPr>
        <p:spPr>
          <a:xfrm>
            <a:off x="3211897" y="1352555"/>
            <a:ext cx="15107" cy="471479"/>
          </a:xfrm>
          <a:custGeom>
            <a:avLst/>
            <a:gdLst>
              <a:gd name="connsiteX0" fmla="*/ 7148 w 14297"/>
              <a:gd name="connsiteY0" fmla="*/ 446205 h 446204"/>
              <a:gd name="connsiteX1" fmla="*/ 0 w 14297"/>
              <a:gd name="connsiteY1" fmla="*/ 439069 h 446204"/>
              <a:gd name="connsiteX2" fmla="*/ 0 w 14297"/>
              <a:gd name="connsiteY2" fmla="*/ 7136 h 446204"/>
              <a:gd name="connsiteX3" fmla="*/ 7148 w 14297"/>
              <a:gd name="connsiteY3" fmla="*/ 0 h 446204"/>
              <a:gd name="connsiteX4" fmla="*/ 14297 w 14297"/>
              <a:gd name="connsiteY4" fmla="*/ 7136 h 446204"/>
              <a:gd name="connsiteX5" fmla="*/ 14297 w 14297"/>
              <a:gd name="connsiteY5" fmla="*/ 439069 h 446204"/>
              <a:gd name="connsiteX6" fmla="*/ 7148 w 14297"/>
              <a:gd name="connsiteY6" fmla="*/ 446205 h 446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97" h="446204">
                <a:moveTo>
                  <a:pt x="7148" y="446205"/>
                </a:moveTo>
                <a:cubicBezTo>
                  <a:pt x="3213" y="446205"/>
                  <a:pt x="0" y="443020"/>
                  <a:pt x="0" y="439069"/>
                </a:cubicBezTo>
                <a:lnTo>
                  <a:pt x="0" y="7136"/>
                </a:lnTo>
                <a:cubicBezTo>
                  <a:pt x="0" y="3208"/>
                  <a:pt x="3190" y="0"/>
                  <a:pt x="7148" y="0"/>
                </a:cubicBezTo>
                <a:cubicBezTo>
                  <a:pt x="11107" y="0"/>
                  <a:pt x="14297" y="3185"/>
                  <a:pt x="14297" y="7136"/>
                </a:cubicBezTo>
                <a:lnTo>
                  <a:pt x="14297" y="439069"/>
                </a:lnTo>
                <a:cubicBezTo>
                  <a:pt x="14274" y="443020"/>
                  <a:pt x="11084" y="446205"/>
                  <a:pt x="7148" y="446205"/>
                </a:cubicBezTo>
                <a:close/>
              </a:path>
            </a:pathLst>
          </a:custGeom>
          <a:solidFill>
            <a:schemeClr val="accent1"/>
          </a:solidFill>
          <a:ln w="19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69A3E878-5496-654B-8EE0-C2BB1201A0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50168"/>
          <a:stretch/>
        </p:blipFill>
        <p:spPr>
          <a:xfrm>
            <a:off x="6024036" y="0"/>
            <a:ext cx="6167963" cy="6858000"/>
          </a:xfrm>
          <a:prstGeom prst="rect">
            <a:avLst/>
          </a:prstGeom>
        </p:spPr>
      </p:pic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C3A87582-E20A-07B3-8FE5-710D390F1D4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8824" y="1271888"/>
            <a:ext cx="2229211" cy="7189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02542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62197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B774A58-E960-4626-9823-5BA3C531C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3DF36328-2B4E-4333-880D-DBD456B997A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62000" y="1663700"/>
            <a:ext cx="5257800" cy="44323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62CFC846-478D-4594-8E25-D8F4D15C71AE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84900" y="1663700"/>
            <a:ext cx="5245100" cy="44323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CCDEBFD7-EC88-8161-5BF0-C2CAA4304F4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981187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634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B774A58-E960-4626-9823-5BA3C531C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3DF36328-2B4E-4333-880D-DBD456B997A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62000" y="1663700"/>
            <a:ext cx="3441700" cy="44323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CD0E48F3-9C81-462F-ABDF-E53FFA249078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375150" y="1663700"/>
            <a:ext cx="3441700" cy="44323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EA005070-AD94-4A9E-9FC6-E4CE914EBABB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7988300" y="1663700"/>
            <a:ext cx="3441700" cy="44323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AF155CC2-C69B-10BB-218C-F6D55A1F065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049609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-B 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20571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A49CD06-54E9-4923-8197-9669F6F6B20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62000" y="1657350"/>
            <a:ext cx="5238000" cy="41036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omparison A</a:t>
            </a:r>
          </a:p>
        </p:txBody>
      </p:sp>
      <p:sp>
        <p:nvSpPr>
          <p:cNvPr id="96" name="Text Placeholder 4">
            <a:extLst>
              <a:ext uri="{FF2B5EF4-FFF2-40B4-BE49-F238E27FC236}">
                <a16:creationId xmlns:a16="http://schemas.microsoft.com/office/drawing/2014/main" id="{47377FA8-EE0D-4A17-BAD7-F4C6314274C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92002" y="1657350"/>
            <a:ext cx="5238000" cy="41036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omparison B</a:t>
            </a:r>
          </a:p>
        </p:txBody>
      </p:sp>
      <p:cxnSp>
        <p:nvCxnSpPr>
          <p:cNvPr id="93" name="Straight Connector 92">
            <a:extLst>
              <a:ext uri="{FF2B5EF4-FFF2-40B4-BE49-F238E27FC236}">
                <a16:creationId xmlns:a16="http://schemas.microsoft.com/office/drawing/2014/main" id="{87A3302C-D689-4CC1-930E-071EFED1EB78}"/>
              </a:ext>
            </a:extLst>
          </p:cNvPr>
          <p:cNvCxnSpPr/>
          <p:nvPr userDrawn="1"/>
        </p:nvCxnSpPr>
        <p:spPr>
          <a:xfrm>
            <a:off x="6096001" y="1657350"/>
            <a:ext cx="0" cy="443865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BAFF706D-57B4-42B6-A6B3-F6B5C2599BA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5667D04E-7C87-4E1F-9331-E209137618B3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762000" y="2235200"/>
            <a:ext cx="5257800" cy="386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sp>
        <p:nvSpPr>
          <p:cNvPr id="15" name="Content Placeholder 5">
            <a:extLst>
              <a:ext uri="{FF2B5EF4-FFF2-40B4-BE49-F238E27FC236}">
                <a16:creationId xmlns:a16="http://schemas.microsoft.com/office/drawing/2014/main" id="{1D8A1010-D294-475C-A458-9BA54886A5D4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84900" y="2235200"/>
            <a:ext cx="5245100" cy="38608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9C6AB227-5B9C-AB23-605B-3C062FBFEAE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384988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-B-C Comparis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1513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CB774A58-E960-4626-9823-5BA3C531C35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3DF36328-2B4E-4333-880D-DBD456B997A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62000" y="2232820"/>
            <a:ext cx="3441700" cy="38631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sp>
        <p:nvSpPr>
          <p:cNvPr id="17" name="Content Placeholder 5">
            <a:extLst>
              <a:ext uri="{FF2B5EF4-FFF2-40B4-BE49-F238E27FC236}">
                <a16:creationId xmlns:a16="http://schemas.microsoft.com/office/drawing/2014/main" id="{CD0E48F3-9C81-462F-ABDF-E53FFA249078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4375150" y="2232820"/>
            <a:ext cx="3441700" cy="38631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sp>
        <p:nvSpPr>
          <p:cNvPr id="18" name="Content Placeholder 5">
            <a:extLst>
              <a:ext uri="{FF2B5EF4-FFF2-40B4-BE49-F238E27FC236}">
                <a16:creationId xmlns:a16="http://schemas.microsoft.com/office/drawing/2014/main" id="{EA005070-AD94-4A9E-9FC6-E4CE914EBABB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7988300" y="2232820"/>
            <a:ext cx="3441700" cy="386318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21A8FF3-AF98-4D1F-8F24-3CBD8359383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62000" y="1657350"/>
            <a:ext cx="3441692" cy="41036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omparison A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2D79F809-73CF-4F00-AA28-D314ECBAF42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75150" y="1657350"/>
            <a:ext cx="3441692" cy="41036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omparison B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36B49B4-C687-47E9-A9AC-B77E199550BF}"/>
              </a:ext>
            </a:extLst>
          </p:cNvPr>
          <p:cNvCxnSpPr/>
          <p:nvPr userDrawn="1"/>
        </p:nvCxnSpPr>
        <p:spPr>
          <a:xfrm>
            <a:off x="4289425" y="1657350"/>
            <a:ext cx="0" cy="443865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Text Placeholder 4">
            <a:extLst>
              <a:ext uri="{FF2B5EF4-FFF2-40B4-BE49-F238E27FC236}">
                <a16:creationId xmlns:a16="http://schemas.microsoft.com/office/drawing/2014/main" id="{20DCB3AD-1F99-434F-BE6C-0E89B0241DB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988300" y="1657350"/>
            <a:ext cx="3441692" cy="41036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omparison C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2465A0F8-E773-4089-BF0F-0A627238D8A8}"/>
              </a:ext>
            </a:extLst>
          </p:cNvPr>
          <p:cNvCxnSpPr/>
          <p:nvPr userDrawn="1"/>
        </p:nvCxnSpPr>
        <p:spPr>
          <a:xfrm>
            <a:off x="7902575" y="1657350"/>
            <a:ext cx="0" cy="443865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5FD289E1-352E-3AA8-1CF7-E5054CD9764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803238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8302534-D562-4708-8F35-F197B1A944A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83600" y="0"/>
            <a:ext cx="6008400" cy="6858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620000" tIns="0" rIns="1620000" bIns="0" rtlCol="0" anchor="ctr">
            <a:noAutofit/>
          </a:bodyPr>
          <a:lstStyle>
            <a:lvl1pPr algn="ctr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335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508000"/>
            <a:ext cx="5251450" cy="461665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C53B48D-1AC2-4573-BD9F-A26F85EFE2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5237999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C14E705A-3EDD-40EC-93FD-EEECC594139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62000" y="1663700"/>
            <a:ext cx="5257800" cy="4432300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E9A12756-FDAE-8545-2FCF-5EFCD755D31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3969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638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Picture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88302534-D562-4708-8F35-F197B1A944A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84900" y="0"/>
            <a:ext cx="6007099" cy="6858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620000" tIns="0" rIns="1620000" bIns="0" rtlCol="0" anchor="ctr">
            <a:noAutofit/>
          </a:bodyPr>
          <a:lstStyle>
            <a:lvl1pPr algn="ctr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0125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508000"/>
            <a:ext cx="5251450" cy="461665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C53B48D-1AC2-4573-BD9F-A26F85EFE24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5237999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71F780EA-754E-F5EE-217A-674BF11EA1E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3969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77741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Pictur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Picture Placeholder 3">
            <a:extLst>
              <a:ext uri="{FF2B5EF4-FFF2-40B4-BE49-F238E27FC236}">
                <a16:creationId xmlns:a16="http://schemas.microsoft.com/office/drawing/2014/main" id="{1204832E-4D77-4A2F-946B-78E2BA18A89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6013449" cy="6858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1620000" tIns="0" rIns="1620000" bIns="0" rtlCol="0" anchor="ctr">
            <a:noAutofit/>
          </a:bodyPr>
          <a:lstStyle>
            <a:lvl1pPr algn="ctr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2001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78550" y="508000"/>
            <a:ext cx="5251450" cy="461665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6A7AFBA1-32D4-4DD1-B987-EE5E396D368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8550" y="1082674"/>
            <a:ext cx="525145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E6BA820D-8F65-4E14-9EE9-C0D56A5544DC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84900" y="1663700"/>
            <a:ext cx="5245100" cy="4432300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C5AEDFE9-434A-0251-BDA9-481C4E54E93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09876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-Space Left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51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78550" y="508000"/>
            <a:ext cx="5251450" cy="461665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29" name="Text Placeholder 12">
            <a:extLst>
              <a:ext uri="{FF2B5EF4-FFF2-40B4-BE49-F238E27FC236}">
                <a16:creationId xmlns:a16="http://schemas.microsoft.com/office/drawing/2014/main" id="{6A7AFBA1-32D4-4DD1-B987-EE5E396D368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178550" y="1082674"/>
            <a:ext cx="525145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AC0FEDA0-2FA0-4473-838A-75CFAEEFE08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6184900" y="1663700"/>
            <a:ext cx="5245100" cy="4432300"/>
          </a:xfrm>
          <a:prstGeom prst="rect">
            <a:avLst/>
          </a:prstGeom>
        </p:spPr>
        <p:txBody>
          <a:bodyPr anchor="t"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AC8163F7-FB40-C689-4C69-F6B1AAAF099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7977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-Pictur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2A38EDF-309F-4BEA-BDAC-B54213CE6867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360627" y="0"/>
            <a:ext cx="3831373" cy="6858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540000" tIns="0" rIns="540000" bIns="0" rtlCol="0" anchor="ctr">
            <a:noAutofit/>
          </a:bodyPr>
          <a:lstStyle>
            <a:lvl1pPr algn="ctr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879116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508000"/>
            <a:ext cx="7049239" cy="461665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C5B7306-42A3-46C2-B5CB-A32525F80C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7049239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BD28B30B-C3F2-4A20-8900-7D3C5873E55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62000" y="1663700"/>
            <a:ext cx="7061200" cy="4432300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532F3FF6-97B4-A8F2-6F94-B335825A4CD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3969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9017266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-Picture Left w/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7232F4D-76DA-4CA3-BA9B-8DE0D9D95A6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3838574" cy="6858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540000" tIns="0" rIns="540000" bIns="0" rtlCol="0" anchor="ctr">
            <a:noAutofit/>
          </a:bodyPr>
          <a:lstStyle>
            <a:lvl1pPr algn="ctr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34382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85424" y="508000"/>
            <a:ext cx="7049239" cy="461665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27BD6ED2-4C52-4DF0-8EC0-6EBABC9276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85424" y="1082674"/>
            <a:ext cx="70488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3" name="Content Placeholder 5">
            <a:extLst>
              <a:ext uri="{FF2B5EF4-FFF2-40B4-BE49-F238E27FC236}">
                <a16:creationId xmlns:a16="http://schemas.microsoft.com/office/drawing/2014/main" id="{6E0DA5A9-0908-44FB-BDD5-2B30E8252156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85424" y="1663700"/>
            <a:ext cx="7044576" cy="4432300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B430799F-8006-29DF-ABF0-F2421D6FA32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5408584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00689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2E2EA029-A3E2-4E5C-A802-33043E840CE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825" y="4607929"/>
            <a:ext cx="4348163" cy="3371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1800" b="1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22DD0925-B1BD-4AF0-8808-9194AA03FA5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019800" y="0"/>
            <a:ext cx="6172199" cy="6858000"/>
          </a:xfrm>
          <a:prstGeom prst="rect">
            <a:avLst/>
          </a:prstGeom>
          <a:solidFill>
            <a:schemeClr val="bg2"/>
          </a:solidFill>
        </p:spPr>
        <p:txBody>
          <a:bodyPr lIns="1620000" rIns="1620000"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36" name="Text Placeholder 62">
            <a:extLst>
              <a:ext uri="{FF2B5EF4-FFF2-40B4-BE49-F238E27FC236}">
                <a16:creationId xmlns:a16="http://schemas.microsoft.com/office/drawing/2014/main" id="{5B6B2447-F3DB-45B4-A1DF-1C8416D839A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8824" y="5613015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54" name="Text Placeholder 62">
            <a:extLst>
              <a:ext uri="{FF2B5EF4-FFF2-40B4-BE49-F238E27FC236}">
                <a16:creationId xmlns:a16="http://schemas.microsoft.com/office/drawing/2014/main" id="{BEC36B84-D879-4316-9130-B1615D43AE8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8824" y="5880556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2B69DF0-A85B-41BC-B934-99683C3DB0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2641600"/>
            <a:ext cx="4348163" cy="183145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Deck Title</a:t>
            </a:r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45E5CB5-1341-2674-757A-01EAD00CE18B}"/>
              </a:ext>
            </a:extLst>
          </p:cNvPr>
          <p:cNvSpPr txBox="1"/>
          <p:nvPr userDrawn="1"/>
        </p:nvSpPr>
        <p:spPr>
          <a:xfrm>
            <a:off x="3722074" y="1386140"/>
            <a:ext cx="1563687" cy="4043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RN IT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UD AG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A5A0702C-85E7-D6C3-8DEE-8FB6D5834547}"/>
              </a:ext>
            </a:extLst>
          </p:cNvPr>
          <p:cNvSpPr/>
          <p:nvPr userDrawn="1"/>
        </p:nvSpPr>
        <p:spPr>
          <a:xfrm>
            <a:off x="3211897" y="1352555"/>
            <a:ext cx="15107" cy="471479"/>
          </a:xfrm>
          <a:custGeom>
            <a:avLst/>
            <a:gdLst>
              <a:gd name="connsiteX0" fmla="*/ 7148 w 14297"/>
              <a:gd name="connsiteY0" fmla="*/ 446205 h 446204"/>
              <a:gd name="connsiteX1" fmla="*/ 0 w 14297"/>
              <a:gd name="connsiteY1" fmla="*/ 439069 h 446204"/>
              <a:gd name="connsiteX2" fmla="*/ 0 w 14297"/>
              <a:gd name="connsiteY2" fmla="*/ 7136 h 446204"/>
              <a:gd name="connsiteX3" fmla="*/ 7148 w 14297"/>
              <a:gd name="connsiteY3" fmla="*/ 0 h 446204"/>
              <a:gd name="connsiteX4" fmla="*/ 14297 w 14297"/>
              <a:gd name="connsiteY4" fmla="*/ 7136 h 446204"/>
              <a:gd name="connsiteX5" fmla="*/ 14297 w 14297"/>
              <a:gd name="connsiteY5" fmla="*/ 439069 h 446204"/>
              <a:gd name="connsiteX6" fmla="*/ 7148 w 14297"/>
              <a:gd name="connsiteY6" fmla="*/ 446205 h 446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97" h="446204">
                <a:moveTo>
                  <a:pt x="7148" y="446205"/>
                </a:moveTo>
                <a:cubicBezTo>
                  <a:pt x="3213" y="446205"/>
                  <a:pt x="0" y="443020"/>
                  <a:pt x="0" y="439069"/>
                </a:cubicBezTo>
                <a:lnTo>
                  <a:pt x="0" y="7136"/>
                </a:lnTo>
                <a:cubicBezTo>
                  <a:pt x="0" y="3208"/>
                  <a:pt x="3190" y="0"/>
                  <a:pt x="7148" y="0"/>
                </a:cubicBezTo>
                <a:cubicBezTo>
                  <a:pt x="11107" y="0"/>
                  <a:pt x="14297" y="3185"/>
                  <a:pt x="14297" y="7136"/>
                </a:cubicBezTo>
                <a:lnTo>
                  <a:pt x="14297" y="439069"/>
                </a:lnTo>
                <a:cubicBezTo>
                  <a:pt x="14274" y="443020"/>
                  <a:pt x="11084" y="446205"/>
                  <a:pt x="7148" y="446205"/>
                </a:cubicBezTo>
                <a:close/>
              </a:path>
            </a:pathLst>
          </a:custGeom>
          <a:solidFill>
            <a:schemeClr val="accent1"/>
          </a:solidFill>
          <a:ln w="19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1A8E15C1-488B-B438-7C0A-BB9A6E32595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40000"/>
          <a:stretch/>
        </p:blipFill>
        <p:spPr>
          <a:xfrm>
            <a:off x="6019799" y="0"/>
            <a:ext cx="6172199" cy="6858000"/>
          </a:xfrm>
          <a:prstGeom prst="rect">
            <a:avLst/>
          </a:prstGeom>
        </p:spPr>
      </p:pic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146F5CEB-1A6B-3526-7415-B702DC77309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8824" y="1271888"/>
            <a:ext cx="2229211" cy="7189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21438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-Pictur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Picture Placeholder 3">
            <a:extLst>
              <a:ext uri="{FF2B5EF4-FFF2-40B4-BE49-F238E27FC236}">
                <a16:creationId xmlns:a16="http://schemas.microsoft.com/office/drawing/2014/main" id="{D7232F4D-76DA-4CA3-BA9B-8DE0D9D95A68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" y="0"/>
            <a:ext cx="3838574" cy="6858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540000" tIns="0" rIns="540000" bIns="0" rtlCol="0" anchor="ctr">
            <a:noAutofit/>
          </a:bodyPr>
          <a:lstStyle>
            <a:lvl1pPr algn="ctr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4417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85424" y="508000"/>
            <a:ext cx="7049239" cy="461665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27BD6ED2-4C52-4DF0-8EC0-6EBABC9276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85424" y="1082674"/>
            <a:ext cx="70488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A9CA5A36-69B5-94A4-1495-A6365D9D9464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1371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-Space Left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647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85424" y="508000"/>
            <a:ext cx="7049239" cy="461665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27BD6ED2-4C52-4DF0-8EC0-6EBABC9276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85424" y="1082674"/>
            <a:ext cx="70488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4F0CD51C-CFC2-4541-9623-32D9FEF638E0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4385424" y="1663700"/>
            <a:ext cx="7044576" cy="4432300"/>
          </a:xfrm>
          <a:prstGeom prst="rect">
            <a:avLst/>
          </a:prstGeom>
        </p:spPr>
        <p:txBody>
          <a:bodyPr anchor="t"/>
          <a:lstStyle>
            <a:lvl1pPr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FBC91A12-A678-4104-63AB-3178299BFD1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94932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con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62852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B6EDD99B-533C-42EA-8D37-D2DBA6DD130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4248A4CF-1C2E-488F-875F-4A545EE7D205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200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6AB3AE60-1AC9-4DAE-A349-12BF82499655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490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20C13DB3-00B6-44FE-840C-F9D02AB3E4F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000" y="3390900"/>
            <a:ext cx="52596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B22275D-4E12-453B-8A8D-A8E7B73A984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184900" y="3390900"/>
            <a:ext cx="52596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14305F7-F3BF-4F9B-A47E-1B5A89D8EA98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62000" y="2806700"/>
            <a:ext cx="52596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87F4479A-AB5C-4CA3-A1BF-629C3A4823F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184900" y="2806700"/>
            <a:ext cx="52596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05CCC9F5-BE52-71A5-91FC-911860E5B6B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03799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con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10817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24" name="Text Placeholder 12">
            <a:extLst>
              <a:ext uri="{FF2B5EF4-FFF2-40B4-BE49-F238E27FC236}">
                <a16:creationId xmlns:a16="http://schemas.microsoft.com/office/drawing/2014/main" id="{E5AEDAF3-B5F0-4FA5-8911-46AEC068A0B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35" name="Picture Placeholder 4">
            <a:extLst>
              <a:ext uri="{FF2B5EF4-FFF2-40B4-BE49-F238E27FC236}">
                <a16:creationId xmlns:a16="http://schemas.microsoft.com/office/drawing/2014/main" id="{740DBCDF-A054-49E7-B0FB-A40034FCA6C8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200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F4CF8068-92A3-4700-A843-9403E58B70E1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7515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C4C76F42-CE1A-45DA-8CED-B9EB997B9DB4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98830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2F9260B1-332C-4680-8A11-1F2E5ED8AE1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000" y="3390900"/>
            <a:ext cx="34416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E379BBDD-1591-46AE-9D18-81FDAA4DA61A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375150" y="3390900"/>
            <a:ext cx="34416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E79EAD3B-6790-45DD-8EED-EB126EACA7F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7988300" y="3390900"/>
            <a:ext cx="34416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A585C96F-DED0-4222-AA9A-DBA9D2F6409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62000" y="2806700"/>
            <a:ext cx="34416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73FAB91A-C87F-4E82-BAF0-6AA65F632DFC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375150" y="2806700"/>
            <a:ext cx="34416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2827C87A-474B-4120-8A8A-B1F437BC4103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988300" y="2806700"/>
            <a:ext cx="34416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F9CA26AD-D292-9AA2-1146-C0F3ABB670F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56856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Icon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5356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33" name="Text Placeholder 12">
            <a:extLst>
              <a:ext uri="{FF2B5EF4-FFF2-40B4-BE49-F238E27FC236}">
                <a16:creationId xmlns:a16="http://schemas.microsoft.com/office/drawing/2014/main" id="{1BBBD941-B205-4B35-9DFA-AABF9664944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5546178B-A422-43A0-B7E3-F7B699AAFA2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200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155958B9-1038-46DA-A384-335861FEF80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71335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083BDF86-71F3-44E1-8E62-EED99852B654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8890005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EAC7C7A-4D71-4567-B9E5-FA232631F8F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18067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7952C08-C4B0-4809-BEB8-D06CAF08038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000" y="3390900"/>
            <a:ext cx="25416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342408C-DA1A-4BDB-97CB-07BA349007D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3471335" y="3390900"/>
            <a:ext cx="25416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4D97638-A257-4447-BF6E-6E142E12ED9A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6180670" y="3390900"/>
            <a:ext cx="25416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7B2A7C68-695E-4910-8372-B9324CE85BC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8890005" y="3390900"/>
            <a:ext cx="25416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67032C77-7082-434F-B27E-168C6E1E6AB9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62000" y="2806700"/>
            <a:ext cx="25416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71E3395A-F269-48CE-9EC0-F4944534BD9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3471335" y="2806700"/>
            <a:ext cx="25416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9E0D2072-E24A-4316-875D-0BCE54A0B0EE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80670" y="2806700"/>
            <a:ext cx="25416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51CE4AE6-D13B-4781-982C-33EDB63314F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890005" y="2806700"/>
            <a:ext cx="25416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973FE10C-A65F-75BE-28DC-6540A1600E6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55125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Icon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9121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3667CD36-59B5-4C5A-8EDD-C5963E75F1B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B39263AA-361A-40E0-A749-9AFEC4102464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200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1C69730E-49FA-4CBE-B0B7-2FAE0343F7E7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93040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7DE4A2D3-F300-4D51-AE73-C24554EAA47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26720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8E0D01CA-F4D1-4409-B2DB-C80DE21D3FE7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9435598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33" name="Picture Placeholder 4">
            <a:extLst>
              <a:ext uri="{FF2B5EF4-FFF2-40B4-BE49-F238E27FC236}">
                <a16:creationId xmlns:a16="http://schemas.microsoft.com/office/drawing/2014/main" id="{54F41E4F-5D36-4A4B-99D8-50BC5F32B606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09880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9D50FD74-0F9B-4B96-93B2-3D7413F80B6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000" y="3390900"/>
            <a:ext cx="19944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2EE5C75-3C0D-4B71-940C-3E332496558C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930400" y="3390900"/>
            <a:ext cx="19944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4119E3E5-D018-4FAD-B793-FA92FC4F927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5098800" y="3390900"/>
            <a:ext cx="19944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77E66CC4-0D7A-4E59-BA2A-9626CA0FD0E1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7267200" y="3390900"/>
            <a:ext cx="19944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8BA9C5F2-6B20-4972-B57F-6AF470D6F2F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435598" y="3390900"/>
            <a:ext cx="19944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EDE9A7CD-6B48-49F8-95A1-8D3B65AB0E8B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62000" y="2806700"/>
            <a:ext cx="19944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9D2877CC-ED51-4BF7-9388-B730FB34EC68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930400" y="2806700"/>
            <a:ext cx="19944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638748B-92F8-4F26-8A0B-D39E64A07777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5098800" y="2806700"/>
            <a:ext cx="19944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B4EE4D9A-90F2-4868-B7C4-78500CEC91A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267200" y="2806700"/>
            <a:ext cx="19944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01704D0C-02C3-4250-9B1E-66E061C7B7F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435598" y="2806700"/>
            <a:ext cx="19944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F525C62-89F2-2D4D-11BB-162B68DD65C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880570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con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1071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5CED6A0-DB7D-4DFE-B8CB-D3667B965BC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2000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F1FF1490-9BB4-459C-8075-65AE6753990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566989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1E40D821-A46D-4072-8721-8D9583248D5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6176967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AC9168FA-AB01-4934-B1A9-054EB5B3974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981956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0" name="Picture Placeholder 4">
            <a:extLst>
              <a:ext uri="{FF2B5EF4-FFF2-40B4-BE49-F238E27FC236}">
                <a16:creationId xmlns:a16="http://schemas.microsoft.com/office/drawing/2014/main" id="{640E89FA-A392-4779-A19B-A4C0C3B37F6F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9786945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A38FDEAF-6E35-42D6-BEF0-473AEB66C06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371978" y="1903600"/>
            <a:ext cx="738000" cy="738000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FC637CE5-D9B7-425F-AC23-0B65C4588C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E2282584-B887-4D5C-A826-D3EDA38DCA3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000" y="3390900"/>
            <a:ext cx="16383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2FC5E40B-EB66-40EF-B06C-6FAF55CC3FC5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67940" y="3390900"/>
            <a:ext cx="16383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5446631-2765-41CF-9D36-905C1AAA9D1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373880" y="3390900"/>
            <a:ext cx="16383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D8513144-4DC2-4448-A4BE-C64CA4560AB6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79820" y="3390900"/>
            <a:ext cx="16383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3B522506-016C-4C34-BE01-B64FB50C681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7985760" y="3390900"/>
            <a:ext cx="16383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E0379628-F514-475D-A78C-0EFE05B2744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791700" y="3390900"/>
            <a:ext cx="1638300" cy="27051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B0DEA4B-C4B7-4D84-8A46-83B537FF812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62000" y="2806700"/>
            <a:ext cx="16383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E275BA2-F051-447A-B079-A15188751C53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567940" y="2806700"/>
            <a:ext cx="16383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121055CB-5CA4-4F50-901A-DC0AB9D1D552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4373880" y="2806700"/>
            <a:ext cx="16383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B88C856C-8B2B-4517-8FA7-D57159F97E94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79820" y="2806700"/>
            <a:ext cx="16383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92087EA0-9FD4-4A95-B6A6-6C99DE04FAB3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985760" y="2806700"/>
            <a:ext cx="16383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9862216-CB0A-4377-ADED-170307437B37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9791700" y="2806700"/>
            <a:ext cx="1638300" cy="4191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</a:lstStyle>
          <a:p>
            <a:pPr lvl="0"/>
            <a:r>
              <a:rPr lang="en-US"/>
              <a:t>Text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9FECB810-3CB4-CB8B-A76B-3078B2D5B6E2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114480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icture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1586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5CED6A0-DB7D-4DFE-B8CB-D3667B965BC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2000" y="1657350"/>
            <a:ext cx="5238000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0" tIns="0" rIns="720000" bIns="0" rtlCol="0" anchor="ctr">
            <a:noAutofit/>
          </a:bodyPr>
          <a:lstStyle>
            <a:lvl1pPr algn="ctr">
              <a:defRPr lang="en-GB"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84D0655C-B089-4761-AD59-C9C084EE5DC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178552" y="1657350"/>
            <a:ext cx="5238000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0" tIns="0" rIns="720000" bIns="0" rtlCol="0" anchor="ctr">
            <a:noAutofit/>
          </a:bodyPr>
          <a:lstStyle>
            <a:lvl1pPr algn="ctr">
              <a:defRPr lang="en-GB"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19" name="Text Placeholder 12">
            <a:extLst>
              <a:ext uri="{FF2B5EF4-FFF2-40B4-BE49-F238E27FC236}">
                <a16:creationId xmlns:a16="http://schemas.microsoft.com/office/drawing/2014/main" id="{41BDC4EF-606D-4C9D-9645-996CB3948CE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8B121A0-22F1-4F84-A9B9-35E992B7E05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000" y="3962400"/>
            <a:ext cx="5257800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862E0A2-D3FD-42E5-83C4-9629A0FCC47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84900" y="3962400"/>
            <a:ext cx="5245102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C15B73D2-AAEA-C134-4A79-494E3E5F5A3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22563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icture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9607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79124FA4-42E1-4F80-9885-C69C061AB74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8" name="Picture Placeholder 4">
            <a:extLst>
              <a:ext uri="{FF2B5EF4-FFF2-40B4-BE49-F238E27FC236}">
                <a16:creationId xmlns:a16="http://schemas.microsoft.com/office/drawing/2014/main" id="{9492D5D8-4B4C-457B-9FD4-F0C769AB45DF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62000" y="1657350"/>
            <a:ext cx="3443612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360000" tIns="0" rIns="360000" bIns="108000" rtlCol="0" anchor="ctr">
            <a:noAutofit/>
          </a:bodyPr>
          <a:lstStyle>
            <a:lvl1pPr algn="ctr">
              <a:defRPr lang="en-GB"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F6C381DB-561E-4EB0-AD78-850402CAC27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370388" y="1657350"/>
            <a:ext cx="3443612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360000" tIns="0" rIns="360000" bIns="108000" rtlCol="0" anchor="ctr">
            <a:noAutofit/>
          </a:bodyPr>
          <a:lstStyle>
            <a:lvl1pPr algn="ctr">
              <a:defRPr lang="en-GB" sz="1100" b="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EDA24420-E00B-48AF-8D15-3B6CF2E76ED9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985126" y="1657350"/>
            <a:ext cx="3443612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360000" tIns="0" rIns="360000" bIns="108000" rtlCol="0" anchor="ctr">
            <a:noAutofit/>
          </a:bodyPr>
          <a:lstStyle>
            <a:lvl1pPr algn="ctr">
              <a:defRPr lang="en-GB"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DE02D1A-BC1F-45DC-8EC3-A1D6630A8D0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000" y="3962400"/>
            <a:ext cx="3441700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277F54E-3CEB-4179-B724-B28F58DEE9B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75150" y="3962400"/>
            <a:ext cx="3441700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E7FC84CD-B17D-45B0-A373-3A72C6DC5B7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988300" y="3962400"/>
            <a:ext cx="3441700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FC48C3E3-C91D-D50E-ADD7-C268C5B4979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120297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icture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05627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5BEC2AA2-1886-4277-811D-0511700D906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EEF1AE7F-6501-404C-BBF0-EFE7500B9D1A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762000" y="1657350"/>
            <a:ext cx="2543175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180000" tIns="0" rIns="180000" bIns="72000" rtlCol="0" anchor="ctr">
            <a:noAutofit/>
          </a:bodyPr>
          <a:lstStyle>
            <a:lvl1pPr algn="ctr">
              <a:defRPr lang="en-GB"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E38EF191-923A-4327-B86F-117CB573A39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70276" y="1657350"/>
            <a:ext cx="2543175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180000" tIns="0" rIns="180000" bIns="72000" rtlCol="0" anchor="ctr">
            <a:noAutofit/>
          </a:bodyPr>
          <a:lstStyle>
            <a:lvl1pPr algn="ctr">
              <a:defRPr lang="en-GB"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5245D0CB-CAF3-432D-92C7-9AE1FCAB383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6178552" y="1657350"/>
            <a:ext cx="2543175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180000" tIns="0" rIns="180000" bIns="72000" rtlCol="0" anchor="ctr">
            <a:noAutofit/>
          </a:bodyPr>
          <a:lstStyle>
            <a:lvl1pPr algn="ctr">
              <a:defRPr lang="en-GB"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B0D907D2-D7A0-438E-AF80-5D4E963F6C13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8886828" y="1657350"/>
            <a:ext cx="2543175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180000" tIns="0" rIns="180000" bIns="72000" rtlCol="0" anchor="ctr">
            <a:noAutofit/>
          </a:bodyPr>
          <a:lstStyle>
            <a:lvl1pPr algn="ctr">
              <a:defRPr lang="en-GB" sz="11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8AA1B458-CA4F-47B0-930C-E907C22C871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000" y="3962400"/>
            <a:ext cx="2539998" cy="21335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03AA1A77-1C74-4EB4-9E28-4FF1306B85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467100" y="3962400"/>
            <a:ext cx="2552702" cy="21335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F062650B-079C-4298-AEB6-D03AB1CB774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84904" y="3962400"/>
            <a:ext cx="2539998" cy="21335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3E54B089-3904-465A-9DF1-79E1534ECB3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890004" y="3962400"/>
            <a:ext cx="2539998" cy="213359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4757CBED-11EC-F226-F995-CEE34D023E98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78416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Partner 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85383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2E2EA029-A3E2-4E5C-A802-33043E840CED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758825" y="4607929"/>
            <a:ext cx="4348163" cy="3371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1800" b="1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22DD0925-B1BD-4AF0-8808-9194AA03FA50}"/>
              </a:ext>
            </a:extLst>
          </p:cNvPr>
          <p:cNvSpPr>
            <a:spLocks noGrp="1"/>
          </p:cNvSpPr>
          <p:nvPr userDrawn="1">
            <p:ph type="pic" sz="quarter" idx="24" hasCustomPrompt="1"/>
          </p:nvPr>
        </p:nvSpPr>
        <p:spPr>
          <a:xfrm>
            <a:off x="6019800" y="0"/>
            <a:ext cx="6172199" cy="6858000"/>
          </a:xfrm>
          <a:prstGeom prst="rect">
            <a:avLst/>
          </a:prstGeom>
          <a:solidFill>
            <a:schemeClr val="bg2"/>
          </a:solidFill>
        </p:spPr>
        <p:txBody>
          <a:bodyPr lIns="1620000" rIns="1620000"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36" name="Text Placeholder 62">
            <a:extLst>
              <a:ext uri="{FF2B5EF4-FFF2-40B4-BE49-F238E27FC236}">
                <a16:creationId xmlns:a16="http://schemas.microsoft.com/office/drawing/2014/main" id="{5B6B2447-F3DB-45B4-A1DF-1C8416D839A1}"/>
              </a:ext>
            </a:extLst>
          </p:cNvPr>
          <p:cNvSpPr>
            <a:spLocks noGrp="1"/>
          </p:cNvSpPr>
          <p:nvPr userDrawn="1">
            <p:ph type="body" sz="quarter" idx="25" hasCustomPrompt="1"/>
          </p:nvPr>
        </p:nvSpPr>
        <p:spPr>
          <a:xfrm>
            <a:off x="758824" y="5613015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54" name="Text Placeholder 62">
            <a:extLst>
              <a:ext uri="{FF2B5EF4-FFF2-40B4-BE49-F238E27FC236}">
                <a16:creationId xmlns:a16="http://schemas.microsoft.com/office/drawing/2014/main" id="{BEC36B84-D879-4316-9130-B1615D43AE8A}"/>
              </a:ext>
            </a:extLst>
          </p:cNvPr>
          <p:cNvSpPr>
            <a:spLocks noGrp="1"/>
          </p:cNvSpPr>
          <p:nvPr userDrawn="1">
            <p:ph type="body" sz="quarter" idx="26" hasCustomPrompt="1"/>
          </p:nvPr>
        </p:nvSpPr>
        <p:spPr>
          <a:xfrm>
            <a:off x="758824" y="5880556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2BE93D53-B81F-424B-98E5-CE726841F045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67100" y="1079500"/>
            <a:ext cx="1638300" cy="1017588"/>
          </a:xfrm>
          <a:noFill/>
        </p:spPr>
        <p:txBody>
          <a:bodyPr vert="horz" wrap="square" lIns="360000" tIns="0" rIns="360000" bIns="0" rtlCol="0" anchor="ctr">
            <a:noAutofit/>
          </a:bodyPr>
          <a:lstStyle>
            <a:lvl1pPr>
              <a:defRPr lang="en-GB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GB"/>
              <a:t>Partner Logo</a:t>
            </a:r>
          </a:p>
        </p:txBody>
      </p:sp>
      <p:sp>
        <p:nvSpPr>
          <p:cNvPr id="57" name="Freeform: Shape 56">
            <a:extLst>
              <a:ext uri="{FF2B5EF4-FFF2-40B4-BE49-F238E27FC236}">
                <a16:creationId xmlns:a16="http://schemas.microsoft.com/office/drawing/2014/main" id="{86BB1FB2-E60B-457A-93D7-22E7CD69A9C8}"/>
              </a:ext>
            </a:extLst>
          </p:cNvPr>
          <p:cNvSpPr/>
          <p:nvPr userDrawn="1"/>
        </p:nvSpPr>
        <p:spPr>
          <a:xfrm>
            <a:off x="3211897" y="1352555"/>
            <a:ext cx="15107" cy="471479"/>
          </a:xfrm>
          <a:custGeom>
            <a:avLst/>
            <a:gdLst>
              <a:gd name="connsiteX0" fmla="*/ 7148 w 14297"/>
              <a:gd name="connsiteY0" fmla="*/ 446205 h 446204"/>
              <a:gd name="connsiteX1" fmla="*/ 0 w 14297"/>
              <a:gd name="connsiteY1" fmla="*/ 439069 h 446204"/>
              <a:gd name="connsiteX2" fmla="*/ 0 w 14297"/>
              <a:gd name="connsiteY2" fmla="*/ 7136 h 446204"/>
              <a:gd name="connsiteX3" fmla="*/ 7148 w 14297"/>
              <a:gd name="connsiteY3" fmla="*/ 0 h 446204"/>
              <a:gd name="connsiteX4" fmla="*/ 14297 w 14297"/>
              <a:gd name="connsiteY4" fmla="*/ 7136 h 446204"/>
              <a:gd name="connsiteX5" fmla="*/ 14297 w 14297"/>
              <a:gd name="connsiteY5" fmla="*/ 439069 h 446204"/>
              <a:gd name="connsiteX6" fmla="*/ 7148 w 14297"/>
              <a:gd name="connsiteY6" fmla="*/ 446205 h 446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97" h="446204">
                <a:moveTo>
                  <a:pt x="7148" y="446205"/>
                </a:moveTo>
                <a:cubicBezTo>
                  <a:pt x="3213" y="446205"/>
                  <a:pt x="0" y="443020"/>
                  <a:pt x="0" y="439069"/>
                </a:cubicBezTo>
                <a:lnTo>
                  <a:pt x="0" y="7136"/>
                </a:lnTo>
                <a:cubicBezTo>
                  <a:pt x="0" y="3208"/>
                  <a:pt x="3190" y="0"/>
                  <a:pt x="7148" y="0"/>
                </a:cubicBezTo>
                <a:cubicBezTo>
                  <a:pt x="11107" y="0"/>
                  <a:pt x="14297" y="3185"/>
                  <a:pt x="14297" y="7136"/>
                </a:cubicBezTo>
                <a:lnTo>
                  <a:pt x="14297" y="439069"/>
                </a:lnTo>
                <a:cubicBezTo>
                  <a:pt x="14274" y="443020"/>
                  <a:pt x="11084" y="446205"/>
                  <a:pt x="7148" y="446205"/>
                </a:cubicBezTo>
                <a:close/>
              </a:path>
            </a:pathLst>
          </a:custGeom>
          <a:solidFill>
            <a:schemeClr val="accent1"/>
          </a:solidFill>
          <a:ln w="19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89E04219-DD86-4C96-98DF-024E1FF104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2641600"/>
            <a:ext cx="4348163" cy="183145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Deck Title</a:t>
            </a:r>
            <a:endParaRPr lang="en-GB"/>
          </a:p>
        </p:txBody>
      </p:sp>
      <p:pic>
        <p:nvPicPr>
          <p:cNvPr id="2" name="Picture 1" descr="A picture containing night sky, ocean floor">
            <a:extLst>
              <a:ext uri="{FF2B5EF4-FFF2-40B4-BE49-F238E27FC236}">
                <a16:creationId xmlns:a16="http://schemas.microsoft.com/office/drawing/2014/main" id="{97DB6FC1-86D1-3F17-CEB1-4D98EB44C8E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50168"/>
          <a:stretch/>
        </p:blipFill>
        <p:spPr>
          <a:xfrm>
            <a:off x="6024037" y="0"/>
            <a:ext cx="6167963" cy="6858000"/>
          </a:xfrm>
          <a:prstGeom prst="rect">
            <a:avLst/>
          </a:prstGeom>
        </p:spPr>
      </p:pic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EF2A5307-E7E8-F9CE-8A81-0750619176EC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8824" y="1271888"/>
            <a:ext cx="2229211" cy="7189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982327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Picture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883778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C6C95719-C04A-4E84-BCF3-6F2CB48698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B476A953-9820-481A-AC69-970188CAC2D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62001" y="1657350"/>
            <a:ext cx="1995714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" tIns="0" rIns="72000" bIns="108000" rtlCol="0" anchor="ctr">
            <a:noAutofit/>
          </a:bodyPr>
          <a:lstStyle>
            <a:lvl1pPr algn="ctr">
              <a:defRPr lang="en-GB"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96B9ED71-009C-400C-AD48-DCCC719A8952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2930072" y="1657350"/>
            <a:ext cx="1995714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" tIns="0" rIns="72000" bIns="108000" rtlCol="0" anchor="ctr">
            <a:noAutofit/>
          </a:bodyPr>
          <a:lstStyle>
            <a:lvl1pPr algn="ctr">
              <a:defRPr lang="en-GB"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D5CFF35-6896-42A1-AFDD-D4E0B588486A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5098143" y="1657350"/>
            <a:ext cx="1995714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" tIns="0" rIns="72000" bIns="108000" rtlCol="0" anchor="ctr">
            <a:noAutofit/>
          </a:bodyPr>
          <a:lstStyle>
            <a:lvl1pPr algn="ctr">
              <a:defRPr lang="en-GB"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88C1EEF9-82DA-4723-9969-6A254B4EF8FF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266214" y="1657350"/>
            <a:ext cx="1995714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" tIns="0" rIns="72000" bIns="108000" rtlCol="0" anchor="ctr">
            <a:noAutofit/>
          </a:bodyPr>
          <a:lstStyle>
            <a:lvl1pPr algn="ctr">
              <a:defRPr lang="en-GB"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5351D77F-7F42-4911-AA5F-91C12655C7D3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434286" y="1657350"/>
            <a:ext cx="1995714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" tIns="0" rIns="72000" bIns="108000" rtlCol="0" anchor="ctr">
            <a:noAutofit/>
          </a:bodyPr>
          <a:lstStyle>
            <a:lvl1pPr algn="ctr">
              <a:defRPr lang="en-GB"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6B513FCB-D6C9-4EF6-AE3B-E56757B787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000" y="3962400"/>
            <a:ext cx="1995714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E4467C06-2AD1-4620-BE9C-13E881C9DD69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2930071" y="3962400"/>
            <a:ext cx="1995714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58838E5D-F819-4B95-9AF4-498EB9DACE1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098142" y="3962400"/>
            <a:ext cx="1995714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7B17B20F-D02A-47B2-9972-9EEB860B790F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7266213" y="3962400"/>
            <a:ext cx="1995714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E78E3CF-0BC1-4F94-A8B0-DC75841601DC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434284" y="3962400"/>
            <a:ext cx="1995714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9AB4D52C-D3E2-832C-F76A-7E7F53385066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04834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Picture Secti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74477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20" name="Text Placeholder 12">
            <a:extLst>
              <a:ext uri="{FF2B5EF4-FFF2-40B4-BE49-F238E27FC236}">
                <a16:creationId xmlns:a16="http://schemas.microsoft.com/office/drawing/2014/main" id="{0648BD33-80DF-4EF4-B9F9-33F15FD814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6C4DDCAE-FD54-4BE0-9CC0-9FA78A75119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762001" y="1657350"/>
            <a:ext cx="1639887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" tIns="0" rIns="72000" bIns="72000" rtlCol="0" anchor="b" anchorCtr="0">
            <a:noAutofit/>
          </a:bodyPr>
          <a:lstStyle>
            <a:lvl1pPr algn="ctr">
              <a:defRPr lang="en-GB"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Click the icon and select Brand Pictures from the ribbon, or insert a file from your computer.</a:t>
            </a:r>
            <a:br>
              <a:rPr lang="en-GB"/>
            </a:br>
            <a:endParaRPr lang="en-GB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7159ACAD-2C85-49F3-A48C-25401865DE7C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66990" y="1657350"/>
            <a:ext cx="1639887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" tIns="0" rIns="72000" bIns="72000" rtlCol="0" anchor="b" anchorCtr="0">
            <a:noAutofit/>
          </a:bodyPr>
          <a:lstStyle>
            <a:lvl1pPr algn="ctr">
              <a:defRPr lang="en-GB"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Click the icon and select Brand Pictures from the ribbon, or insert a file from your computer.</a:t>
            </a:r>
            <a:br>
              <a:rPr lang="en-GB"/>
            </a:br>
            <a:endParaRPr lang="en-GB"/>
          </a:p>
        </p:txBody>
      </p:sp>
      <p:sp>
        <p:nvSpPr>
          <p:cNvPr id="26" name="Picture Placeholder 4">
            <a:extLst>
              <a:ext uri="{FF2B5EF4-FFF2-40B4-BE49-F238E27FC236}">
                <a16:creationId xmlns:a16="http://schemas.microsoft.com/office/drawing/2014/main" id="{BA5E6C22-CA22-40CB-A3A8-40CA6DC746E5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4371979" y="1657350"/>
            <a:ext cx="1639887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" tIns="0" rIns="72000" bIns="72000" rtlCol="0" anchor="b" anchorCtr="0">
            <a:noAutofit/>
          </a:bodyPr>
          <a:lstStyle>
            <a:lvl1pPr algn="ctr">
              <a:defRPr lang="en-GB"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Click the icon and select Brand Pictures from the ribbon, or insert a file from your computer.</a:t>
            </a:r>
            <a:br>
              <a:rPr lang="en-GB"/>
            </a:br>
            <a:endParaRPr lang="en-GB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A3D177D5-E1F0-45D3-9293-FD4B2AB90EF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6176968" y="1657350"/>
            <a:ext cx="1639887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" tIns="0" rIns="72000" bIns="72000" rtlCol="0" anchor="b" anchorCtr="0">
            <a:noAutofit/>
          </a:bodyPr>
          <a:lstStyle>
            <a:lvl1pPr algn="ctr">
              <a:defRPr lang="en-GB"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Click the icon and select Brand Pictures from the ribbon, or insert a file from your computer.</a:t>
            </a:r>
            <a:br>
              <a:rPr lang="en-GB"/>
            </a:br>
            <a:endParaRPr lang="en-GB"/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6A90CFFC-AE1B-484F-8341-2A9B91BEB20C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7981957" y="1657350"/>
            <a:ext cx="1639887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" tIns="0" rIns="72000" bIns="72000" rtlCol="0" anchor="b" anchorCtr="0">
            <a:noAutofit/>
          </a:bodyPr>
          <a:lstStyle>
            <a:lvl1pPr algn="ctr">
              <a:defRPr lang="en-GB"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Click the icon and select Brand Pictures from the ribbon, or insert a file from your computer.</a:t>
            </a:r>
            <a:br>
              <a:rPr lang="en-GB"/>
            </a:br>
            <a:endParaRPr lang="en-GB"/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016F6FD6-CF2B-4D0D-8510-4E5F2FC3BF73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9786946" y="1657350"/>
            <a:ext cx="1639887" cy="2136774"/>
          </a:xfrm>
          <a:prstGeom prst="roundRect">
            <a:avLst>
              <a:gd name="adj" fmla="val 2403"/>
            </a:avLst>
          </a:prstGeom>
          <a:solidFill>
            <a:schemeClr val="bg2"/>
          </a:solidFill>
        </p:spPr>
        <p:txBody>
          <a:bodyPr vert="horz" wrap="square" lIns="72000" tIns="0" rIns="72000" bIns="72000" rtlCol="0" anchor="b" anchorCtr="0">
            <a:noAutofit/>
          </a:bodyPr>
          <a:lstStyle>
            <a:lvl1pPr algn="ctr">
              <a:defRPr lang="en-GB" sz="1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Click the icon and select Brand Pictures from the ribbon, or insert a file from your computer.</a:t>
            </a:r>
            <a:br>
              <a:rPr lang="en-GB"/>
            </a:br>
            <a:endParaRPr lang="en-GB"/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6A00EE76-5337-4128-8F4D-9B7BD39829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62000" y="3962400"/>
            <a:ext cx="1638300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40" name="Text Placeholder 3">
            <a:extLst>
              <a:ext uri="{FF2B5EF4-FFF2-40B4-BE49-F238E27FC236}">
                <a16:creationId xmlns:a16="http://schemas.microsoft.com/office/drawing/2014/main" id="{8F64AA9C-EACC-47C8-A4F3-A748BE300FB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2567940" y="3962400"/>
            <a:ext cx="1638300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EFFEEEC2-805C-4D41-830C-ED2BAB83D88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4373880" y="3962400"/>
            <a:ext cx="1638300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3DEAC54C-3961-4484-BF9A-2A34DCDECF4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179820" y="3962400"/>
            <a:ext cx="1638300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CF4E06E0-C721-490C-8BB4-C8606BCFC09F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985760" y="3962400"/>
            <a:ext cx="1638300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DE567F5E-4D70-447B-B981-09E3C74D37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9791700" y="3962400"/>
            <a:ext cx="1638300" cy="21336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F3E07741-C81B-667A-A810-2FF58082A66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6765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2FB597F-EFE8-4893-AABD-C387C0BD5CD5}"/>
              </a:ext>
            </a:extLst>
          </p:cNvPr>
          <p:cNvSpPr/>
          <p:nvPr userDrawn="1"/>
        </p:nvSpPr>
        <p:spPr>
          <a:xfrm>
            <a:off x="8888838" y="3"/>
            <a:ext cx="3303162" cy="6858000"/>
          </a:xfrm>
          <a:prstGeom prst="rect">
            <a:avLst/>
          </a:prstGeo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2"/>
              </a:solidFill>
            </a:endParaRPr>
          </a:p>
        </p:txBody>
      </p:sp>
      <p:pic>
        <p:nvPicPr>
          <p:cNvPr id="29" name="Picture 28" descr="Logo, icon&#10;&#10;Description automatically generated">
            <a:extLst>
              <a:ext uri="{FF2B5EF4-FFF2-40B4-BE49-F238E27FC236}">
                <a16:creationId xmlns:a16="http://schemas.microsoft.com/office/drawing/2014/main" id="{F613DA5D-6ACD-E2CC-7E7A-64913393E5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</a:blip>
          <a:stretch>
            <a:fillRect/>
          </a:stretch>
        </p:blipFill>
        <p:spPr>
          <a:xfrm>
            <a:off x="9500772" y="4858693"/>
            <a:ext cx="1910258" cy="1958667"/>
          </a:xfrm>
          <a:prstGeom prst="rect">
            <a:avLst/>
          </a:prstGeom>
        </p:spPr>
      </p:pic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4891A88C-BC1C-4B82-A5F8-49DB6422798D}"/>
              </a:ext>
            </a:extLst>
          </p:cNvPr>
          <p:cNvSpPr/>
          <p:nvPr userDrawn="1"/>
        </p:nvSpPr>
        <p:spPr>
          <a:xfrm rot="10800000">
            <a:off x="8719804" y="1335009"/>
            <a:ext cx="3472195" cy="393704"/>
          </a:xfrm>
          <a:prstGeom prst="rtTriangle">
            <a:avLst/>
          </a:prstGeom>
          <a:gradFill flip="none" rotWithShape="1">
            <a:gsLst>
              <a:gs pos="100000">
                <a:schemeClr val="tx2">
                  <a:alpha val="25000"/>
                </a:schemeClr>
              </a:gs>
              <a:gs pos="0">
                <a:schemeClr val="tx2">
                  <a:alpha val="0"/>
                </a:schemeClr>
              </a:gs>
            </a:gsLst>
            <a:lin ang="0" scaled="1"/>
            <a:tileRect/>
          </a:gradFill>
          <a:ln w="3175"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550ADCBF-D36A-4CB8-AA1F-CA23ED1DFD33}"/>
              </a:ext>
            </a:extLst>
          </p:cNvPr>
          <p:cNvSpPr/>
          <p:nvPr userDrawn="1"/>
        </p:nvSpPr>
        <p:spPr>
          <a:xfrm rot="16200000">
            <a:off x="10194985" y="-555687"/>
            <a:ext cx="641231" cy="3352801"/>
          </a:xfrm>
          <a:prstGeom prst="round2SameRect">
            <a:avLst>
              <a:gd name="adj1" fmla="val 9065"/>
              <a:gd name="adj2" fmla="val 0"/>
            </a:avLst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2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FFB9A70-5BFA-44AB-8175-D7E382348347}"/>
              </a:ext>
            </a:extLst>
          </p:cNvPr>
          <p:cNvCxnSpPr/>
          <p:nvPr userDrawn="1"/>
        </p:nvCxnSpPr>
        <p:spPr>
          <a:xfrm>
            <a:off x="3372337" y="2235200"/>
            <a:ext cx="0" cy="38608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9BA033-9CE1-432A-852C-FE2DF055B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9432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9BA033-9CE1-432A-852C-FE2DF055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AFD981-CD66-4113-A2C1-013E9E1A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DEE702-7A6E-41DE-B00C-5DD026BC461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62000" y="820395"/>
            <a:ext cx="7962900" cy="620935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/>
              <a:t>Click To Add Headline – 2 Lines Max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7988B74-1DD3-4D45-8CE0-FD7CEA48FF6F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61998" y="2533650"/>
            <a:ext cx="2502467" cy="356234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Insert challenge text her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59072087-5F4C-4A15-A6BA-645389BB8C01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480209" y="2533651"/>
            <a:ext cx="5213775" cy="2649268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Insert solution text here</a:t>
            </a:r>
            <a:endParaRPr lang="en-GB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B9956D3-4BEA-4666-896E-DB87A75AC459}"/>
              </a:ext>
            </a:extLst>
          </p:cNvPr>
          <p:cNvSpPr txBox="1"/>
          <p:nvPr userDrawn="1"/>
        </p:nvSpPr>
        <p:spPr>
          <a:xfrm>
            <a:off x="761998" y="2232025"/>
            <a:ext cx="2295261" cy="177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halle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F62535E-AB1D-4CCD-8FD0-77076157144D}"/>
              </a:ext>
            </a:extLst>
          </p:cNvPr>
          <p:cNvSpPr txBox="1"/>
          <p:nvPr userDrawn="1"/>
        </p:nvSpPr>
        <p:spPr>
          <a:xfrm>
            <a:off x="3480209" y="2232025"/>
            <a:ext cx="2295261" cy="177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olution</a:t>
            </a:r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96B2D3A6-1650-4D26-A5B7-8C6ECB92D758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9587706" y="821581"/>
            <a:ext cx="1893192" cy="59826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ase Study Logo</a:t>
            </a:r>
          </a:p>
        </p:txBody>
      </p:sp>
      <p:sp>
        <p:nvSpPr>
          <p:cNvPr id="41" name="Text Placeholder 39">
            <a:extLst>
              <a:ext uri="{FF2B5EF4-FFF2-40B4-BE49-F238E27FC236}">
                <a16:creationId xmlns:a16="http://schemas.microsoft.com/office/drawing/2014/main" id="{D0429B46-1B83-403A-A990-E4EE40EB6D6C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9133777" y="2232025"/>
            <a:ext cx="2801047" cy="3292475"/>
          </a:xfrm>
        </p:spPr>
        <p:txBody>
          <a:bodyPr anchor="ctr"/>
          <a:lstStyle>
            <a:lvl1pPr algn="ctr">
              <a:spcAft>
                <a:spcPts val="0"/>
              </a:spcAft>
              <a:defRPr sz="1400" b="1">
                <a:solidFill>
                  <a:schemeClr val="accent1"/>
                </a:solidFill>
              </a:defRPr>
            </a:lvl1pPr>
            <a:lvl2pPr marL="90487" indent="0" algn="ctr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GB"/>
              <a:t>Outcome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</a:t>
            </a:r>
          </a:p>
          <a:p>
            <a:pPr lvl="1"/>
            <a:r>
              <a:rPr lang="en-GB"/>
              <a:t>Outcome details</a:t>
            </a:r>
          </a:p>
        </p:txBody>
      </p:sp>
      <p:sp>
        <p:nvSpPr>
          <p:cNvPr id="44" name="Text Placeholder 39">
            <a:extLst>
              <a:ext uri="{FF2B5EF4-FFF2-40B4-BE49-F238E27FC236}">
                <a16:creationId xmlns:a16="http://schemas.microsoft.com/office/drawing/2014/main" id="{50F5356C-CB53-4CEA-85EF-AAD7F9494151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761998" y="1527432"/>
            <a:ext cx="7962893" cy="62366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GB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GB"/>
              <a:t>Click To Add Sub-Headline – 3 Lines Ma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87A9BF-C4FB-4D77-ABE9-1D710BF9D890}"/>
              </a:ext>
            </a:extLst>
          </p:cNvPr>
          <p:cNvSpPr txBox="1"/>
          <p:nvPr userDrawn="1"/>
        </p:nvSpPr>
        <p:spPr>
          <a:xfrm>
            <a:off x="756905" y="507999"/>
            <a:ext cx="1637952" cy="25400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None/>
              <a:tabLst>
                <a:tab pos="442913" algn="l"/>
              </a:tabLst>
              <a:defRPr lang="en-US" sz="1400" b="1" spc="0" baseline="0" dirty="0">
                <a:solidFill>
                  <a:schemeClr val="tx2"/>
                </a:solidFill>
                <a:latin typeface="+mj-lt"/>
              </a:defRPr>
            </a:lvl1pPr>
            <a:lvl2pPr marL="266700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tabLst>
                <a:tab pos="442913" algn="l"/>
              </a:tabLst>
              <a:defRPr lang="en-US" sz="1400" b="0" spc="0" baseline="0" dirty="0">
                <a:solidFill>
                  <a:schemeClr val="tx2"/>
                </a:solidFill>
              </a:defRPr>
            </a:lvl2pPr>
            <a:lvl3pPr marL="266700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panose="020B0604020202020204" pitchFamily="34" charset="0"/>
              <a:buChar char="•"/>
              <a:tabLst>
                <a:tab pos="442913" algn="l"/>
              </a:tabLst>
              <a:defRPr sz="1400" b="0" spc="0" baseline="0">
                <a:solidFill>
                  <a:schemeClr val="tx2"/>
                </a:solidFill>
              </a:defRPr>
            </a:lvl3pPr>
            <a:lvl4pPr marL="358775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panose="020B0604020202020204" pitchFamily="34" charset="0"/>
              <a:buChar char="•"/>
              <a:tabLst>
                <a:tab pos="447675" algn="l"/>
              </a:tabLst>
              <a:defRPr sz="1200" b="0" spc="0" baseline="0">
                <a:solidFill>
                  <a:schemeClr val="tx2"/>
                </a:solidFill>
              </a:defRPr>
            </a:lvl4pPr>
            <a:lvl5pPr marL="449263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200" b="0" spc="0" baseline="0">
                <a:solidFill>
                  <a:schemeClr val="tx2"/>
                </a:solidFill>
              </a:defRPr>
            </a:lvl5pPr>
            <a:lvl6pPr marL="541338" indent="-1841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lang="en-US" sz="1050" b="0" dirty="0">
                <a:solidFill>
                  <a:schemeClr val="tx2"/>
                </a:solidFill>
              </a:defRPr>
            </a:lvl6pPr>
            <a:lvl7pPr marL="625475" indent="-177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050">
                <a:solidFill>
                  <a:schemeClr val="tx2"/>
                </a:solidFill>
              </a:defRPr>
            </a:lvl7pPr>
            <a:lvl8pPr marL="804863" indent="-2667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800">
                <a:solidFill>
                  <a:schemeClr val="tx2"/>
                </a:solidFill>
              </a:defRPr>
            </a:lvl8pPr>
            <a:lvl9pPr marL="62865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>
                <a:solidFill>
                  <a:schemeClr val="accent1"/>
                </a:solidFill>
              </a:rPr>
              <a:t>CASE STUDY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F7FC877C-6411-4739-81C2-789873BBB12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260900" y="1546076"/>
            <a:ext cx="546800" cy="5468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F9625A5-451C-491D-8EDE-9E3C06EFB1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39896" y="506401"/>
            <a:ext cx="2801047" cy="255600"/>
          </a:xfrm>
        </p:spPr>
        <p:txBody>
          <a:bodyPr anchor="t"/>
          <a:lstStyle>
            <a:lvl1pPr algn="ctr"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Industry | Country/Region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354BE3E-EEDD-4527-9565-2B9B875C8CFC}"/>
              </a:ext>
            </a:extLst>
          </p:cNvPr>
          <p:cNvSpPr/>
          <p:nvPr userDrawn="1"/>
        </p:nvSpPr>
        <p:spPr>
          <a:xfrm>
            <a:off x="9067800" y="5689600"/>
            <a:ext cx="3124200" cy="406399"/>
          </a:xfrm>
          <a:prstGeom prst="rect">
            <a:avLst/>
          </a:prstGeom>
          <a:solidFill>
            <a:schemeClr val="accent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400" b="1" spc="-10">
                <a:solidFill>
                  <a:schemeClr val="bg1"/>
                </a:solidFill>
              </a:rPr>
              <a:t>Get the full story &gt;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8B4950-C45A-46B2-B4B2-CFF39BD3B2B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80208" y="5302952"/>
            <a:ext cx="5239596" cy="793047"/>
          </a:xfr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>
            <a:lvl1pPr>
              <a:defRPr lang="en-US" b="1" spc="-10" smtClean="0">
                <a:solidFill>
                  <a:schemeClr val="accent1"/>
                </a:solidFill>
              </a:defRPr>
            </a:lvl1pPr>
            <a:lvl2pPr>
              <a:defRPr lang="en-US" sz="1050" b="1" spc="-10" smtClean="0">
                <a:solidFill>
                  <a:schemeClr val="tx2"/>
                </a:solidFill>
              </a:defRPr>
            </a:lvl2pPr>
            <a:lvl3pPr marL="647700" indent="0">
              <a:buNone/>
              <a:defRPr lang="en-US" sz="1800" smtClean="0"/>
            </a:lvl3pPr>
            <a:lvl4pPr>
              <a:defRPr lang="en-US" sz="1800" smtClean="0"/>
            </a:lvl4pPr>
            <a:lvl5pPr>
              <a:defRPr lang="en-GB" sz="1800"/>
            </a:lvl5pPr>
          </a:lstStyle>
          <a:p>
            <a:pPr marR="0" lvl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Quote</a:t>
            </a:r>
          </a:p>
          <a:p>
            <a:pPr marL="0" marR="0" lvl="1" indent="0" fontAlgn="auto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- Attribution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171D44E1-1083-810E-BBEB-BFA2C138DF9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3969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601875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-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Rectangle 92">
            <a:extLst>
              <a:ext uri="{FF2B5EF4-FFF2-40B4-BE49-F238E27FC236}">
                <a16:creationId xmlns:a16="http://schemas.microsoft.com/office/drawing/2014/main" id="{E0510FF8-2DF9-437E-B35B-4918304CD5B0}"/>
              </a:ext>
            </a:extLst>
          </p:cNvPr>
          <p:cNvSpPr/>
          <p:nvPr userDrawn="1"/>
        </p:nvSpPr>
        <p:spPr>
          <a:xfrm>
            <a:off x="8888838" y="8238"/>
            <a:ext cx="3303162" cy="6858000"/>
          </a:xfrm>
          <a:prstGeom prst="rect">
            <a:avLst/>
          </a:prstGeo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2"/>
              </a:solidFill>
            </a:endParaRPr>
          </a:p>
        </p:txBody>
      </p:sp>
      <p:pic>
        <p:nvPicPr>
          <p:cNvPr id="24" name="Picture 23" descr="Logo, icon&#10;&#10;Description automatically generated">
            <a:extLst>
              <a:ext uri="{FF2B5EF4-FFF2-40B4-BE49-F238E27FC236}">
                <a16:creationId xmlns:a16="http://schemas.microsoft.com/office/drawing/2014/main" id="{59530801-4C87-9211-25D0-8FCB338A9A1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</a:blip>
          <a:stretch>
            <a:fillRect/>
          </a:stretch>
        </p:blipFill>
        <p:spPr>
          <a:xfrm>
            <a:off x="9321183" y="4899330"/>
            <a:ext cx="1910258" cy="1958667"/>
          </a:xfrm>
          <a:prstGeom prst="rect">
            <a:avLst/>
          </a:prstGeom>
        </p:spPr>
      </p:pic>
      <p:grpSp>
        <p:nvGrpSpPr>
          <p:cNvPr id="105" name="Group 4">
            <a:extLst>
              <a:ext uri="{FF2B5EF4-FFF2-40B4-BE49-F238E27FC236}">
                <a16:creationId xmlns:a16="http://schemas.microsoft.com/office/drawing/2014/main" id="{2F02ED6B-FF85-4689-B7AA-0138C83956D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952251" y="4285890"/>
            <a:ext cx="1772650" cy="1810110"/>
            <a:chOff x="3175" y="1481"/>
            <a:chExt cx="1325" cy="1353"/>
          </a:xfrm>
          <a:solidFill>
            <a:schemeClr val="bg2"/>
          </a:solidFill>
        </p:grpSpPr>
        <p:sp>
          <p:nvSpPr>
            <p:cNvPr id="106" name="Freeform 5">
              <a:extLst>
                <a:ext uri="{FF2B5EF4-FFF2-40B4-BE49-F238E27FC236}">
                  <a16:creationId xmlns:a16="http://schemas.microsoft.com/office/drawing/2014/main" id="{9007F272-66D8-4EAB-8F6C-1042134450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6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6">
              <a:extLst>
                <a:ext uri="{FF2B5EF4-FFF2-40B4-BE49-F238E27FC236}">
                  <a16:creationId xmlns:a16="http://schemas.microsoft.com/office/drawing/2014/main" id="{EF6BA9FD-EC69-403A-AE5A-A2E5B69A9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75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11" name="Group 4">
            <a:extLst>
              <a:ext uri="{FF2B5EF4-FFF2-40B4-BE49-F238E27FC236}">
                <a16:creationId xmlns:a16="http://schemas.microsoft.com/office/drawing/2014/main" id="{1CB4F513-8D19-4449-A4A8-9B46E1EDEB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10800000">
            <a:off x="760266" y="524254"/>
            <a:ext cx="702449" cy="717293"/>
            <a:chOff x="3175" y="1481"/>
            <a:chExt cx="1325" cy="1353"/>
          </a:xfrm>
          <a:solidFill>
            <a:schemeClr val="bg2"/>
          </a:solidFill>
        </p:grpSpPr>
        <p:sp>
          <p:nvSpPr>
            <p:cNvPr id="112" name="Freeform 5">
              <a:extLst>
                <a:ext uri="{FF2B5EF4-FFF2-40B4-BE49-F238E27FC236}">
                  <a16:creationId xmlns:a16="http://schemas.microsoft.com/office/drawing/2014/main" id="{5D0423DF-A236-4170-AAE3-DC554F7F97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6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6">
              <a:extLst>
                <a:ext uri="{FF2B5EF4-FFF2-40B4-BE49-F238E27FC236}">
                  <a16:creationId xmlns:a16="http://schemas.microsoft.com/office/drawing/2014/main" id="{77FF2407-D9DD-4EAC-8188-4A57542F04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75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9BA033-9CE1-432A-852C-FE2DF055B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028952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9BA033-9CE1-432A-852C-FE2DF055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AFD981-CD66-4113-A2C1-013E9E1A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6247662-14DA-4C78-9658-BB8819366D64}"/>
              </a:ext>
            </a:extLst>
          </p:cNvPr>
          <p:cNvSpPr/>
          <p:nvPr userDrawn="1"/>
        </p:nvSpPr>
        <p:spPr>
          <a:xfrm>
            <a:off x="9067800" y="5689600"/>
            <a:ext cx="3124200" cy="406399"/>
          </a:xfrm>
          <a:prstGeom prst="rect">
            <a:avLst/>
          </a:prstGeom>
          <a:solidFill>
            <a:schemeClr val="accent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400" b="1" spc="-10">
                <a:solidFill>
                  <a:schemeClr val="bg1"/>
                </a:solidFill>
              </a:rPr>
              <a:t>Get the full story &gt;</a:t>
            </a:r>
          </a:p>
        </p:txBody>
      </p:sp>
      <p:sp>
        <p:nvSpPr>
          <p:cNvPr id="27" name="Right Triangle 26">
            <a:extLst>
              <a:ext uri="{FF2B5EF4-FFF2-40B4-BE49-F238E27FC236}">
                <a16:creationId xmlns:a16="http://schemas.microsoft.com/office/drawing/2014/main" id="{7695460C-3A9F-4521-822C-3214F1143C4C}"/>
              </a:ext>
            </a:extLst>
          </p:cNvPr>
          <p:cNvSpPr/>
          <p:nvPr userDrawn="1"/>
        </p:nvSpPr>
        <p:spPr>
          <a:xfrm rot="10800000">
            <a:off x="8719804" y="1335009"/>
            <a:ext cx="3472195" cy="393704"/>
          </a:xfrm>
          <a:prstGeom prst="rtTriangle">
            <a:avLst/>
          </a:prstGeom>
          <a:gradFill flip="none" rotWithShape="1">
            <a:gsLst>
              <a:gs pos="100000">
                <a:schemeClr val="tx2">
                  <a:alpha val="25000"/>
                </a:schemeClr>
              </a:gs>
              <a:gs pos="0">
                <a:schemeClr val="tx2">
                  <a:alpha val="0"/>
                </a:schemeClr>
              </a:gs>
            </a:gsLst>
            <a:lin ang="0" scaled="1"/>
            <a:tileRect/>
          </a:gradFill>
          <a:ln w="3175"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86504938-A843-45B2-9682-0D78555CE45B}"/>
              </a:ext>
            </a:extLst>
          </p:cNvPr>
          <p:cNvSpPr/>
          <p:nvPr userDrawn="1"/>
        </p:nvSpPr>
        <p:spPr>
          <a:xfrm rot="16200000">
            <a:off x="10194985" y="-555687"/>
            <a:ext cx="641231" cy="3352801"/>
          </a:xfrm>
          <a:prstGeom prst="round2SameRect">
            <a:avLst>
              <a:gd name="adj1" fmla="val 9065"/>
              <a:gd name="adj2" fmla="val 0"/>
            </a:avLst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2"/>
              </a:solidFill>
            </a:endParaRPr>
          </a:p>
        </p:txBody>
      </p:sp>
      <p:sp>
        <p:nvSpPr>
          <p:cNvPr id="29" name="Picture Placeholder 36">
            <a:extLst>
              <a:ext uri="{FF2B5EF4-FFF2-40B4-BE49-F238E27FC236}">
                <a16:creationId xmlns:a16="http://schemas.microsoft.com/office/drawing/2014/main" id="{D81246F3-F76B-4AE6-B55A-A85D8F77A3F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87706" y="821581"/>
            <a:ext cx="1893192" cy="59826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ase Study Logo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CC1B4036-0C47-497E-AF0B-1F56E1AE5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1498600"/>
            <a:ext cx="5737084" cy="34417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Add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CDA06A-0166-4AD3-BB9C-22C736EACEF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8825" y="5105400"/>
            <a:ext cx="5737225" cy="419100"/>
          </a:xfrm>
        </p:spPr>
        <p:txBody>
          <a:bodyPr anchor="ctr"/>
          <a:lstStyle>
            <a:lvl1pPr algn="r">
              <a:spcAft>
                <a:spcPts val="0"/>
              </a:spcAft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Add attribution here</a:t>
            </a:r>
            <a:endParaRPr lang="en-GB"/>
          </a:p>
        </p:txBody>
      </p:sp>
      <p:pic>
        <p:nvPicPr>
          <p:cNvPr id="2" name="Picture 1" descr="Icon&#10;&#10;Description automatically generated with medium confidence">
            <a:extLst>
              <a:ext uri="{FF2B5EF4-FFF2-40B4-BE49-F238E27FC236}">
                <a16:creationId xmlns:a16="http://schemas.microsoft.com/office/drawing/2014/main" id="{B68741FB-B49F-D79A-C513-477D587C0D6B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3969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688163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ed 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2FB597F-EFE8-4893-AABD-C387C0BD5CD5}"/>
              </a:ext>
            </a:extLst>
          </p:cNvPr>
          <p:cNvSpPr/>
          <p:nvPr userDrawn="1"/>
        </p:nvSpPr>
        <p:spPr>
          <a:xfrm>
            <a:off x="8888838" y="8240"/>
            <a:ext cx="3303162" cy="6858000"/>
          </a:xfrm>
          <a:prstGeom prst="rect">
            <a:avLst/>
          </a:prstGeo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2"/>
              </a:solidFill>
            </a:endParaRPr>
          </a:p>
        </p:txBody>
      </p:sp>
      <p:pic>
        <p:nvPicPr>
          <p:cNvPr id="30" name="Picture 29" descr="Logo, icon&#10;&#10;Description automatically generated">
            <a:extLst>
              <a:ext uri="{FF2B5EF4-FFF2-40B4-BE49-F238E27FC236}">
                <a16:creationId xmlns:a16="http://schemas.microsoft.com/office/drawing/2014/main" id="{180F7E16-003C-8CB4-12D5-D27898E80769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</a:blip>
          <a:stretch>
            <a:fillRect/>
          </a:stretch>
        </p:blipFill>
        <p:spPr>
          <a:xfrm>
            <a:off x="9321183" y="4899330"/>
            <a:ext cx="1910258" cy="1958667"/>
          </a:xfrm>
          <a:prstGeom prst="rect">
            <a:avLst/>
          </a:prstGeom>
        </p:spPr>
      </p:pic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4891A88C-BC1C-4B82-A5F8-49DB6422798D}"/>
              </a:ext>
            </a:extLst>
          </p:cNvPr>
          <p:cNvSpPr/>
          <p:nvPr userDrawn="1"/>
        </p:nvSpPr>
        <p:spPr>
          <a:xfrm rot="10800000">
            <a:off x="8719804" y="1335009"/>
            <a:ext cx="3472195" cy="393704"/>
          </a:xfrm>
          <a:prstGeom prst="rtTriangle">
            <a:avLst/>
          </a:prstGeom>
          <a:gradFill flip="none" rotWithShape="1">
            <a:gsLst>
              <a:gs pos="100000">
                <a:schemeClr val="tx2">
                  <a:alpha val="25000"/>
                </a:schemeClr>
              </a:gs>
              <a:gs pos="0">
                <a:schemeClr val="tx2">
                  <a:alpha val="0"/>
                </a:schemeClr>
              </a:gs>
            </a:gsLst>
            <a:lin ang="0" scaled="1"/>
            <a:tileRect/>
          </a:gradFill>
          <a:ln w="3175"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550ADCBF-D36A-4CB8-AA1F-CA23ED1DFD33}"/>
              </a:ext>
            </a:extLst>
          </p:cNvPr>
          <p:cNvSpPr/>
          <p:nvPr userDrawn="1"/>
        </p:nvSpPr>
        <p:spPr>
          <a:xfrm rot="16200000">
            <a:off x="10194985" y="-555687"/>
            <a:ext cx="641231" cy="3352801"/>
          </a:xfrm>
          <a:prstGeom prst="round2SameRect">
            <a:avLst>
              <a:gd name="adj1" fmla="val 9065"/>
              <a:gd name="adj2" fmla="val 0"/>
            </a:avLst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2"/>
              </a:solidFill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FFB9A70-5BFA-44AB-8175-D7E382348347}"/>
              </a:ext>
            </a:extLst>
          </p:cNvPr>
          <p:cNvCxnSpPr/>
          <p:nvPr userDrawn="1"/>
        </p:nvCxnSpPr>
        <p:spPr>
          <a:xfrm>
            <a:off x="3372337" y="2235200"/>
            <a:ext cx="0" cy="38608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9BA033-9CE1-432A-852C-FE2DF055B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48540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9BA033-9CE1-432A-852C-FE2DF055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AFD981-CD66-4113-A2C1-013E9E1A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DEE702-7A6E-41DE-B00C-5DD026BC461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62000" y="820395"/>
            <a:ext cx="7962900" cy="620935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/>
              <a:t>Click To Add Headline – 2 Lines Max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7988B74-1DD3-4D45-8CE0-FD7CEA48FF6F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61998" y="2533650"/>
            <a:ext cx="2502467" cy="3562349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Insert challenge text her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59072087-5F4C-4A15-A6BA-645389BB8C01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480209" y="2533651"/>
            <a:ext cx="5213775" cy="2649268"/>
          </a:xfrm>
        </p:spPr>
        <p:txBody>
          <a:bodyPr/>
          <a:lstStyle>
            <a:lvl1pPr marL="171450" indent="-171450">
              <a:buFont typeface="Arial" panose="020B0604020202020204" pitchFamily="34" charset="0"/>
              <a:buChar char="•"/>
              <a:defRPr sz="1200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Insert solution text here</a:t>
            </a:r>
            <a:endParaRPr lang="en-GB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B9956D3-4BEA-4666-896E-DB87A75AC459}"/>
              </a:ext>
            </a:extLst>
          </p:cNvPr>
          <p:cNvSpPr txBox="1"/>
          <p:nvPr userDrawn="1"/>
        </p:nvSpPr>
        <p:spPr>
          <a:xfrm>
            <a:off x="761998" y="2232025"/>
            <a:ext cx="2295261" cy="177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Challe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F62535E-AB1D-4CCD-8FD0-77076157144D}"/>
              </a:ext>
            </a:extLst>
          </p:cNvPr>
          <p:cNvSpPr txBox="1"/>
          <p:nvPr userDrawn="1"/>
        </p:nvSpPr>
        <p:spPr>
          <a:xfrm>
            <a:off x="3480209" y="2232025"/>
            <a:ext cx="2295261" cy="177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400" b="1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olution</a:t>
            </a:r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96B2D3A6-1650-4D26-A5B7-8C6ECB92D758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9587706" y="821581"/>
            <a:ext cx="1893192" cy="59826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ase Study Logo</a:t>
            </a:r>
          </a:p>
        </p:txBody>
      </p:sp>
      <p:sp>
        <p:nvSpPr>
          <p:cNvPr id="41" name="Text Placeholder 39">
            <a:extLst>
              <a:ext uri="{FF2B5EF4-FFF2-40B4-BE49-F238E27FC236}">
                <a16:creationId xmlns:a16="http://schemas.microsoft.com/office/drawing/2014/main" id="{D0429B46-1B83-403A-A990-E4EE40EB6D6C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9133777" y="2232026"/>
            <a:ext cx="2801047" cy="3290966"/>
          </a:xfrm>
        </p:spPr>
        <p:txBody>
          <a:bodyPr anchor="ctr"/>
          <a:lstStyle>
            <a:lvl1pPr algn="ctr">
              <a:spcAft>
                <a:spcPts val="0"/>
              </a:spcAft>
              <a:defRPr sz="1400" b="1">
                <a:solidFill>
                  <a:schemeClr val="accent1"/>
                </a:solidFill>
              </a:defRPr>
            </a:lvl1pPr>
            <a:lvl2pPr marL="90487" indent="0" algn="ctr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GB"/>
              <a:t>Outcome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</a:t>
            </a:r>
          </a:p>
          <a:p>
            <a:pPr lvl="1"/>
            <a:r>
              <a:rPr lang="en-GB"/>
              <a:t>Outcome details</a:t>
            </a:r>
          </a:p>
        </p:txBody>
      </p:sp>
      <p:sp>
        <p:nvSpPr>
          <p:cNvPr id="44" name="Text Placeholder 39">
            <a:extLst>
              <a:ext uri="{FF2B5EF4-FFF2-40B4-BE49-F238E27FC236}">
                <a16:creationId xmlns:a16="http://schemas.microsoft.com/office/drawing/2014/main" id="{50F5356C-CB53-4CEA-85EF-AAD7F9494151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761998" y="1527432"/>
            <a:ext cx="7962893" cy="62366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GB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GB"/>
              <a:t>Click To Add Sub-Headline – 3 Lines Ma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87A9BF-C4FB-4D77-ABE9-1D710BF9D890}"/>
              </a:ext>
            </a:extLst>
          </p:cNvPr>
          <p:cNvSpPr txBox="1"/>
          <p:nvPr userDrawn="1"/>
        </p:nvSpPr>
        <p:spPr>
          <a:xfrm>
            <a:off x="756905" y="507999"/>
            <a:ext cx="1637952" cy="25400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None/>
              <a:tabLst>
                <a:tab pos="442913" algn="l"/>
              </a:tabLst>
              <a:defRPr lang="en-US" sz="1400" b="1" spc="0" baseline="0" dirty="0">
                <a:solidFill>
                  <a:schemeClr val="tx2"/>
                </a:solidFill>
                <a:latin typeface="+mj-lt"/>
              </a:defRPr>
            </a:lvl1pPr>
            <a:lvl2pPr marL="266700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tabLst>
                <a:tab pos="442913" algn="l"/>
              </a:tabLst>
              <a:defRPr lang="en-US" sz="1400" b="0" spc="0" baseline="0" dirty="0">
                <a:solidFill>
                  <a:schemeClr val="tx2"/>
                </a:solidFill>
              </a:defRPr>
            </a:lvl2pPr>
            <a:lvl3pPr marL="266700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panose="020B0604020202020204" pitchFamily="34" charset="0"/>
              <a:buChar char="•"/>
              <a:tabLst>
                <a:tab pos="442913" algn="l"/>
              </a:tabLst>
              <a:defRPr sz="1400" b="0" spc="0" baseline="0">
                <a:solidFill>
                  <a:schemeClr val="tx2"/>
                </a:solidFill>
              </a:defRPr>
            </a:lvl3pPr>
            <a:lvl4pPr marL="358775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panose="020B0604020202020204" pitchFamily="34" charset="0"/>
              <a:buChar char="•"/>
              <a:tabLst>
                <a:tab pos="447675" algn="l"/>
              </a:tabLst>
              <a:defRPr sz="1200" b="0" spc="0" baseline="0">
                <a:solidFill>
                  <a:schemeClr val="tx2"/>
                </a:solidFill>
              </a:defRPr>
            </a:lvl4pPr>
            <a:lvl5pPr marL="449263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200" b="0" spc="0" baseline="0">
                <a:solidFill>
                  <a:schemeClr val="tx2"/>
                </a:solidFill>
              </a:defRPr>
            </a:lvl5pPr>
            <a:lvl6pPr marL="541338" indent="-1841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lang="en-US" sz="1050" b="0" dirty="0">
                <a:solidFill>
                  <a:schemeClr val="tx2"/>
                </a:solidFill>
              </a:defRPr>
            </a:lvl6pPr>
            <a:lvl7pPr marL="625475" indent="-177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050">
                <a:solidFill>
                  <a:schemeClr val="tx2"/>
                </a:solidFill>
              </a:defRPr>
            </a:lvl7pPr>
            <a:lvl8pPr marL="804863" indent="-2667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800">
                <a:solidFill>
                  <a:schemeClr val="tx2"/>
                </a:solidFill>
              </a:defRPr>
            </a:lvl8pPr>
            <a:lvl9pPr marL="62865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000">
                <a:solidFill>
                  <a:schemeClr val="tx2"/>
                </a:solidFill>
              </a:defRPr>
            </a:lvl9pPr>
          </a:lstStyle>
          <a:p>
            <a:pPr lvl="0"/>
            <a:r>
              <a:rPr lang="en-GB">
                <a:solidFill>
                  <a:schemeClr val="accent1"/>
                </a:solidFill>
              </a:rPr>
              <a:t>CASE STUDY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F7FC877C-6411-4739-81C2-789873BBB12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260900" y="1546076"/>
            <a:ext cx="546800" cy="5468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258CB0F-8774-4432-946F-D70CAD8371D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213775" y="6327447"/>
            <a:ext cx="927508" cy="390525"/>
          </a:xfrm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GB"/>
              <a:t>Co-branding logo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F9625A5-451C-491D-8EDE-9E3C06EFB1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39896" y="506401"/>
            <a:ext cx="2801047" cy="255600"/>
          </a:xfrm>
        </p:spPr>
        <p:txBody>
          <a:bodyPr anchor="t"/>
          <a:lstStyle>
            <a:lvl1pPr algn="ctr"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Industry | Country/Reg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84D9E5C-8E78-4F94-A1DA-AC3BA636082A}"/>
              </a:ext>
            </a:extLst>
          </p:cNvPr>
          <p:cNvCxnSpPr>
            <a:cxnSpLocks/>
          </p:cNvCxnSpPr>
          <p:nvPr userDrawn="1"/>
        </p:nvCxnSpPr>
        <p:spPr>
          <a:xfrm>
            <a:off x="1063897" y="6416925"/>
            <a:ext cx="0" cy="21156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id="{3BFA3C44-3577-4BF9-81B0-3D9E02299125}"/>
              </a:ext>
            </a:extLst>
          </p:cNvPr>
          <p:cNvSpPr/>
          <p:nvPr userDrawn="1"/>
        </p:nvSpPr>
        <p:spPr>
          <a:xfrm>
            <a:off x="9067800" y="5689600"/>
            <a:ext cx="3124200" cy="406399"/>
          </a:xfrm>
          <a:prstGeom prst="rect">
            <a:avLst/>
          </a:prstGeom>
          <a:solidFill>
            <a:schemeClr val="accent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400" b="1" spc="-10">
                <a:solidFill>
                  <a:schemeClr val="bg1"/>
                </a:solidFill>
              </a:rPr>
              <a:t>Get the full story &gt;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ED8FB3F-9165-4EDD-9AF8-70355AEB90D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80208" y="5302952"/>
            <a:ext cx="5239596" cy="793047"/>
          </a:xfr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>
            <a:lvl1pPr>
              <a:defRPr lang="en-US" b="1" spc="-10" smtClean="0">
                <a:solidFill>
                  <a:schemeClr val="accent1"/>
                </a:solidFill>
              </a:defRPr>
            </a:lvl1pPr>
            <a:lvl2pPr>
              <a:defRPr lang="en-US" sz="1050" b="1" spc="-10" smtClean="0">
                <a:solidFill>
                  <a:schemeClr val="tx2"/>
                </a:solidFill>
              </a:defRPr>
            </a:lvl2pPr>
            <a:lvl3pPr marL="647700" indent="0">
              <a:buNone/>
              <a:defRPr lang="en-US" sz="1800" smtClean="0"/>
            </a:lvl3pPr>
            <a:lvl4pPr>
              <a:defRPr lang="en-US" sz="1800" smtClean="0"/>
            </a:lvl4pPr>
            <a:lvl5pPr>
              <a:defRPr lang="en-GB" sz="1800"/>
            </a:lvl5pPr>
          </a:lstStyle>
          <a:p>
            <a:pPr marR="0" lvl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Quote</a:t>
            </a:r>
          </a:p>
          <a:p>
            <a:pPr marL="0" marR="0" lvl="1" indent="0" fontAlgn="auto"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/>
              <a:t>- Attribution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240FFF60-7178-7BAD-40EB-A5B93808C3B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4103" y="6478552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57893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-Branded Case Study -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" name="Group 4">
            <a:extLst>
              <a:ext uri="{FF2B5EF4-FFF2-40B4-BE49-F238E27FC236}">
                <a16:creationId xmlns:a16="http://schemas.microsoft.com/office/drawing/2014/main" id="{2F02ED6B-FF85-4689-B7AA-0138C83956D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952251" y="4285890"/>
            <a:ext cx="1772650" cy="1810110"/>
            <a:chOff x="3175" y="1481"/>
            <a:chExt cx="1325" cy="1353"/>
          </a:xfrm>
          <a:solidFill>
            <a:schemeClr val="bg2"/>
          </a:solidFill>
        </p:grpSpPr>
        <p:sp>
          <p:nvSpPr>
            <p:cNvPr id="106" name="Freeform 5">
              <a:extLst>
                <a:ext uri="{FF2B5EF4-FFF2-40B4-BE49-F238E27FC236}">
                  <a16:creationId xmlns:a16="http://schemas.microsoft.com/office/drawing/2014/main" id="{9007F272-66D8-4EAB-8F6C-1042134450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6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7" name="Freeform 6">
              <a:extLst>
                <a:ext uri="{FF2B5EF4-FFF2-40B4-BE49-F238E27FC236}">
                  <a16:creationId xmlns:a16="http://schemas.microsoft.com/office/drawing/2014/main" id="{EF6BA9FD-EC69-403A-AE5A-A2E5B69A9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75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111" name="Group 4">
            <a:extLst>
              <a:ext uri="{FF2B5EF4-FFF2-40B4-BE49-F238E27FC236}">
                <a16:creationId xmlns:a16="http://schemas.microsoft.com/office/drawing/2014/main" id="{1CB4F513-8D19-4449-A4A8-9B46E1EDEB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10800000">
            <a:off x="760266" y="524254"/>
            <a:ext cx="702449" cy="717293"/>
            <a:chOff x="3175" y="1481"/>
            <a:chExt cx="1325" cy="1353"/>
          </a:xfrm>
          <a:solidFill>
            <a:schemeClr val="bg2"/>
          </a:solidFill>
        </p:grpSpPr>
        <p:sp>
          <p:nvSpPr>
            <p:cNvPr id="112" name="Freeform 5">
              <a:extLst>
                <a:ext uri="{FF2B5EF4-FFF2-40B4-BE49-F238E27FC236}">
                  <a16:creationId xmlns:a16="http://schemas.microsoft.com/office/drawing/2014/main" id="{5D0423DF-A236-4170-AAE3-DC554F7F97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6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3" name="Freeform 6">
              <a:extLst>
                <a:ext uri="{FF2B5EF4-FFF2-40B4-BE49-F238E27FC236}">
                  <a16:creationId xmlns:a16="http://schemas.microsoft.com/office/drawing/2014/main" id="{77FF2407-D9DD-4EAC-8188-4A57542F04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75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E0510FF8-2DF9-437E-B35B-4918304CD5B0}"/>
              </a:ext>
            </a:extLst>
          </p:cNvPr>
          <p:cNvSpPr/>
          <p:nvPr userDrawn="1"/>
        </p:nvSpPr>
        <p:spPr>
          <a:xfrm>
            <a:off x="8888838" y="0"/>
            <a:ext cx="3303162" cy="6858000"/>
          </a:xfrm>
          <a:prstGeom prst="rect">
            <a:avLst/>
          </a:prstGeo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2"/>
              </a:solidFill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9BA033-9CE1-432A-852C-FE2DF055B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319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9BA033-9CE1-432A-852C-FE2DF055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AFD981-CD66-4113-A2C1-013E9E1A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9" name="Right Triangle 28">
            <a:extLst>
              <a:ext uri="{FF2B5EF4-FFF2-40B4-BE49-F238E27FC236}">
                <a16:creationId xmlns:a16="http://schemas.microsoft.com/office/drawing/2014/main" id="{34696DD7-9A8B-4A90-A7C9-830F3FB4A24A}"/>
              </a:ext>
            </a:extLst>
          </p:cNvPr>
          <p:cNvSpPr/>
          <p:nvPr userDrawn="1"/>
        </p:nvSpPr>
        <p:spPr>
          <a:xfrm rot="10800000">
            <a:off x="8719804" y="1335009"/>
            <a:ext cx="3472195" cy="393704"/>
          </a:xfrm>
          <a:prstGeom prst="rtTriangle">
            <a:avLst/>
          </a:prstGeom>
          <a:gradFill flip="none" rotWithShape="1">
            <a:gsLst>
              <a:gs pos="100000">
                <a:schemeClr val="tx2">
                  <a:alpha val="25000"/>
                </a:schemeClr>
              </a:gs>
              <a:gs pos="0">
                <a:schemeClr val="tx2">
                  <a:alpha val="0"/>
                </a:schemeClr>
              </a:gs>
            </a:gsLst>
            <a:lin ang="0" scaled="1"/>
            <a:tileRect/>
          </a:gradFill>
          <a:ln w="3175"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GB" sz="1200" b="0" i="0" u="none" strike="noStrike" kern="1200" cap="none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30" name="Rectangle: Top Corners Rounded 29">
            <a:extLst>
              <a:ext uri="{FF2B5EF4-FFF2-40B4-BE49-F238E27FC236}">
                <a16:creationId xmlns:a16="http://schemas.microsoft.com/office/drawing/2014/main" id="{970FD016-C18A-4C18-BB30-8B731C56A055}"/>
              </a:ext>
            </a:extLst>
          </p:cNvPr>
          <p:cNvSpPr/>
          <p:nvPr userDrawn="1"/>
        </p:nvSpPr>
        <p:spPr>
          <a:xfrm rot="16200000">
            <a:off x="10194985" y="-555687"/>
            <a:ext cx="641231" cy="3352801"/>
          </a:xfrm>
          <a:prstGeom prst="round2SameRect">
            <a:avLst>
              <a:gd name="adj1" fmla="val 9065"/>
              <a:gd name="adj2" fmla="val 0"/>
            </a:avLst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2"/>
              </a:solidFill>
            </a:endParaRPr>
          </a:p>
        </p:txBody>
      </p:sp>
      <p:sp>
        <p:nvSpPr>
          <p:cNvPr id="31" name="Picture Placeholder 36">
            <a:extLst>
              <a:ext uri="{FF2B5EF4-FFF2-40B4-BE49-F238E27FC236}">
                <a16:creationId xmlns:a16="http://schemas.microsoft.com/office/drawing/2014/main" id="{11ADABC0-79C3-4454-943A-E66CFC6BAF8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87706" y="821581"/>
            <a:ext cx="1893192" cy="59826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ase Study Logo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AACCD078-612D-4C69-9AEB-8CEF6CDFDD5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1498600"/>
            <a:ext cx="5737084" cy="3441700"/>
          </a:xfrm>
        </p:spPr>
        <p:txBody>
          <a:bodyPr anchor="ctr"/>
          <a:lstStyle>
            <a:lvl1pPr>
              <a:defRPr/>
            </a:lvl1pPr>
          </a:lstStyle>
          <a:p>
            <a:r>
              <a:rPr lang="en-US"/>
              <a:t>Click To Add Quot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6F359CA2-199A-4D1C-8D67-F2914CF3E4C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8825" y="5105400"/>
            <a:ext cx="5737225" cy="419100"/>
          </a:xfrm>
        </p:spPr>
        <p:txBody>
          <a:bodyPr anchor="ctr"/>
          <a:lstStyle>
            <a:lvl1pPr algn="r">
              <a:spcAft>
                <a:spcPts val="0"/>
              </a:spcAft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Add attribution here</a:t>
            </a:r>
            <a:endParaRPr lang="en-GB"/>
          </a:p>
        </p:txBody>
      </p:sp>
      <p:pic>
        <p:nvPicPr>
          <p:cNvPr id="28" name="Picture 27" descr="Logo, icon&#10;&#10;Description automatically generated">
            <a:extLst>
              <a:ext uri="{FF2B5EF4-FFF2-40B4-BE49-F238E27FC236}">
                <a16:creationId xmlns:a16="http://schemas.microsoft.com/office/drawing/2014/main" id="{C9A87022-8B61-DF76-7C43-6DCBC7A3CECD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</a:blip>
          <a:stretch>
            <a:fillRect/>
          </a:stretch>
        </p:blipFill>
        <p:spPr>
          <a:xfrm>
            <a:off x="9321183" y="4899330"/>
            <a:ext cx="1910258" cy="1958667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:a16="http://schemas.microsoft.com/office/drawing/2014/main" id="{74629A64-806C-40BB-AFA8-6CD6A47E19E7}"/>
              </a:ext>
            </a:extLst>
          </p:cNvPr>
          <p:cNvSpPr/>
          <p:nvPr userDrawn="1"/>
        </p:nvSpPr>
        <p:spPr>
          <a:xfrm>
            <a:off x="9067800" y="5689600"/>
            <a:ext cx="3124200" cy="406399"/>
          </a:xfrm>
          <a:prstGeom prst="rect">
            <a:avLst/>
          </a:prstGeom>
          <a:solidFill>
            <a:schemeClr val="accent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GB" sz="1400" b="1" spc="-10">
                <a:solidFill>
                  <a:schemeClr val="bg1"/>
                </a:solidFill>
              </a:rPr>
              <a:t>Get the full story &gt;</a:t>
            </a:r>
          </a:p>
        </p:txBody>
      </p:sp>
      <p:sp>
        <p:nvSpPr>
          <p:cNvPr id="2" name="Picture Placeholder 21">
            <a:extLst>
              <a:ext uri="{FF2B5EF4-FFF2-40B4-BE49-F238E27FC236}">
                <a16:creationId xmlns:a16="http://schemas.microsoft.com/office/drawing/2014/main" id="{2118D724-469B-7EDD-1D22-E41FD411DA2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213775" y="6327447"/>
            <a:ext cx="927508" cy="390525"/>
          </a:xfrm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GB"/>
              <a:t>Co-branding logo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528B41E4-19CF-454E-B96C-A3F199E7A518}"/>
              </a:ext>
            </a:extLst>
          </p:cNvPr>
          <p:cNvCxnSpPr>
            <a:cxnSpLocks/>
          </p:cNvCxnSpPr>
          <p:nvPr userDrawn="1"/>
        </p:nvCxnSpPr>
        <p:spPr>
          <a:xfrm>
            <a:off x="1063897" y="6416925"/>
            <a:ext cx="0" cy="21156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4" name="Picture 3" descr="Icon&#10;&#10;Description automatically generated with medium confidence">
            <a:extLst>
              <a:ext uri="{FF2B5EF4-FFF2-40B4-BE49-F238E27FC236}">
                <a16:creationId xmlns:a16="http://schemas.microsoft.com/office/drawing/2014/main" id="{5202D5C5-5108-9091-95AF-FA688BA1270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234103" y="6478552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75176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ood Fi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05899-BD12-4C95-B84B-AA868D1A17D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4320000" tIns="0" rIns="4320000" bIns="0" rtlCol="0" anchor="ctr">
            <a:noAutofit/>
          </a:bodyPr>
          <a:lstStyle>
            <a:lvl1pPr algn="ctr">
              <a:defRPr lang="en-GB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pic>
        <p:nvPicPr>
          <p:cNvPr id="2" name="Picture 1" descr="Icon&#10;&#10;Description automatically generated with medium confidence">
            <a:extLst>
              <a:ext uri="{FF2B5EF4-FFF2-40B4-BE49-F238E27FC236}">
                <a16:creationId xmlns:a16="http://schemas.microsoft.com/office/drawing/2014/main" id="{D49AC85C-CA07-FEA3-5C0C-6DD84E9DEF61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572715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Content Hol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4CAC2E-1210-4FD6-93AA-32B9E9778B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  <a:endParaRPr lang="en-GB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1370769-DB06-4316-9C0D-614D701432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641B51A9-29F2-4410-BF67-9BAAE0398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1663700"/>
            <a:ext cx="2540000" cy="4432300"/>
          </a:xfrm>
          <a:prstGeom prst="rect">
            <a:avLst/>
          </a:prstGeom>
        </p:spPr>
        <p:txBody>
          <a:bodyPr anchor="t"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9" name="Picture 8" descr="Shape, rectangle&#10;&#10;Description automatically generated">
            <a:extLst>
              <a:ext uri="{FF2B5EF4-FFF2-40B4-BE49-F238E27FC236}">
                <a16:creationId xmlns:a16="http://schemas.microsoft.com/office/drawing/2014/main" id="{87755207-4DEE-4FE3-A945-3649900881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7100" y="1654900"/>
            <a:ext cx="8280307" cy="4454955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05899-BD12-4C95-B84B-AA868D1A17D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413250" y="1841499"/>
            <a:ext cx="6362123" cy="3915065"/>
          </a:xfrm>
          <a:prstGeom prst="roundRect">
            <a:avLst>
              <a:gd name="adj" fmla="val 448"/>
            </a:avLst>
          </a:prstGeom>
          <a:solidFill>
            <a:schemeClr val="bg2"/>
          </a:solidFill>
        </p:spPr>
        <p:txBody>
          <a:bodyPr vert="horz" wrap="square" lIns="720000" tIns="0" rIns="720000" bIns="0" rtlCol="0" anchor="ctr">
            <a:noAutofit/>
          </a:bodyPr>
          <a:lstStyle>
            <a:lvl1pPr algn="ctr">
              <a:defRPr lang="en-GB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A219D994-10C7-5D74-0454-4B32ED16530F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291110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a Content Holder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4CAC2E-1210-4FD6-93AA-32B9E9778B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  <a:endParaRPr lang="en-GB"/>
          </a:p>
        </p:txBody>
      </p:sp>
      <p:sp>
        <p:nvSpPr>
          <p:cNvPr id="6" name="Text Placeholder 12">
            <a:extLst>
              <a:ext uri="{FF2B5EF4-FFF2-40B4-BE49-F238E27FC236}">
                <a16:creationId xmlns:a16="http://schemas.microsoft.com/office/drawing/2014/main" id="{41370769-DB06-4316-9C0D-614D7014324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641B51A9-29F2-4410-BF67-9BAAE0398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2000" y="1663700"/>
            <a:ext cx="7061200" cy="4432300"/>
          </a:xfrm>
          <a:prstGeom prst="rect">
            <a:avLst/>
          </a:prstGeom>
        </p:spPr>
        <p:txBody>
          <a:bodyPr anchor="t"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9" name="Picture 8" descr="Shape, rectangle&#10;&#10;Description automatically generated">
            <a:extLst>
              <a:ext uri="{FF2B5EF4-FFF2-40B4-BE49-F238E27FC236}">
                <a16:creationId xmlns:a16="http://schemas.microsoft.com/office/drawing/2014/main" id="{87755207-4DEE-4FE3-A945-36499008815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8926"/>
          <a:stretch/>
        </p:blipFill>
        <p:spPr>
          <a:xfrm>
            <a:off x="7962900" y="1654900"/>
            <a:ext cx="4229100" cy="4454955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62305899-BD12-4C95-B84B-AA868D1A17D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915400" y="1841499"/>
            <a:ext cx="3276600" cy="3915065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360000" tIns="0" rIns="540000" bIns="144000" rtlCol="0" anchor="ctr">
            <a:noAutofit/>
          </a:bodyPr>
          <a:lstStyle>
            <a:lvl1pPr algn="ctr">
              <a:defRPr lang="en-GB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91568829-B8D0-1FD1-239B-3C24B7DF825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0840799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hird Shad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Triangular Shadow A" descr="Shape&#10;&#10;Description automatically generated with medium confidence">
            <a:extLst>
              <a:ext uri="{FF2B5EF4-FFF2-40B4-BE49-F238E27FC236}">
                <a16:creationId xmlns:a16="http://schemas.microsoft.com/office/drawing/2014/main" id="{74C0BB7C-B1EF-4138-872D-3309C1FDFD2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058"/>
          <a:stretch/>
        </p:blipFill>
        <p:spPr>
          <a:xfrm>
            <a:off x="2278380" y="5522560"/>
            <a:ext cx="1575429" cy="96678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0392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85424" y="508000"/>
            <a:ext cx="7049239" cy="461665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27BD6ED2-4C52-4DF0-8EC0-6EBABC9276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85424" y="1082674"/>
            <a:ext cx="70488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5" name="Picture Placeholder 20">
            <a:extLst>
              <a:ext uri="{FF2B5EF4-FFF2-40B4-BE49-F238E27FC236}">
                <a16:creationId xmlns:a16="http://schemas.microsoft.com/office/drawing/2014/main" id="{55418667-6066-4E72-81CB-099A07788A3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4845" y="508000"/>
            <a:ext cx="3073724" cy="5176838"/>
          </a:xfrm>
          <a:prstGeom prst="roundRect">
            <a:avLst>
              <a:gd name="adj" fmla="val 1973"/>
            </a:avLst>
          </a:prstGeom>
          <a:solidFill>
            <a:schemeClr val="bg2"/>
          </a:solidFill>
        </p:spPr>
        <p:txBody>
          <a:bodyPr vert="horz" wrap="square" lIns="360000" tIns="0" rIns="360000" bIns="0" rtlCol="0" anchor="ctr">
            <a:noAutofit/>
          </a:bodyPr>
          <a:lstStyle>
            <a:lvl1pPr algn="ctr">
              <a:defRPr lang="en-GB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2E6566F2-2E28-F22E-C88C-0B037D3AE5F4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63654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Animated Pho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" name="Picture 56">
            <a:extLst>
              <a:ext uri="{FF2B5EF4-FFF2-40B4-BE49-F238E27FC236}">
                <a16:creationId xmlns:a16="http://schemas.microsoft.com/office/drawing/2014/main" id="{DE3E05B9-F41E-40E5-A5C0-CA3A88660CE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rcRect/>
          <a:stretch/>
        </p:blipFill>
        <p:spPr>
          <a:xfrm>
            <a:off x="7850857" y="1767169"/>
            <a:ext cx="1815975" cy="3935132"/>
          </a:xfrm>
          <a:prstGeom prst="rect">
            <a:avLst/>
          </a:prstGeom>
          <a:scene3d>
            <a:camera prst="orthographicFront">
              <a:rot lat="2400000" lon="2400000" rev="3630000"/>
            </a:camera>
            <a:lightRig rig="threePt" dir="t"/>
          </a:scene3d>
        </p:spPr>
      </p:pic>
      <p:sp>
        <p:nvSpPr>
          <p:cNvPr id="64" name="Freeform: Shape 63">
            <a:extLst>
              <a:ext uri="{FF2B5EF4-FFF2-40B4-BE49-F238E27FC236}">
                <a16:creationId xmlns:a16="http://schemas.microsoft.com/office/drawing/2014/main" id="{E47EAA37-0041-4D89-B6E5-E7611E458EA3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custGeom>
            <a:avLst/>
            <a:gdLst>
              <a:gd name="connsiteX0" fmla="*/ 8128000 w 12192000"/>
              <a:gd name="connsiteY0" fmla="*/ 2510790 h 6858000"/>
              <a:gd name="connsiteX1" fmla="*/ 8025130 w 12192000"/>
              <a:gd name="connsiteY1" fmla="*/ 2526030 h 6858000"/>
              <a:gd name="connsiteX2" fmla="*/ 6706870 w 12192000"/>
              <a:gd name="connsiteY2" fmla="*/ 3448050 h 6858000"/>
              <a:gd name="connsiteX3" fmla="*/ 9389110 w 12192000"/>
              <a:gd name="connsiteY3" fmla="*/ 4991100 h 6858000"/>
              <a:gd name="connsiteX4" fmla="*/ 10844530 w 12192000"/>
              <a:gd name="connsiteY4" fmla="*/ 4046220 h 6858000"/>
              <a:gd name="connsiteX5" fmla="*/ 0 w 12192000"/>
              <a:gd name="connsiteY5" fmla="*/ 0 h 6858000"/>
              <a:gd name="connsiteX6" fmla="*/ 12192000 w 12192000"/>
              <a:gd name="connsiteY6" fmla="*/ 0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858000">
                <a:moveTo>
                  <a:pt x="8128000" y="2510790"/>
                </a:moveTo>
                <a:lnTo>
                  <a:pt x="8025130" y="2526030"/>
                </a:lnTo>
                <a:lnTo>
                  <a:pt x="6706870" y="3448050"/>
                </a:lnTo>
                <a:lnTo>
                  <a:pt x="9389110" y="4991100"/>
                </a:lnTo>
                <a:lnTo>
                  <a:pt x="10844530" y="404622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08000" rIns="180000" bIns="108000" rtlCol="0" anchor="t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1"/>
              </a:solidFill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F4D69E45-7B57-4BE4-B4BF-F919B35DDE7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56961" y="2213356"/>
            <a:ext cx="5203862" cy="3360312"/>
          </a:xfrm>
          <a:custGeom>
            <a:avLst/>
            <a:gdLst>
              <a:gd name="connsiteX0" fmla="*/ 2010367 w 5203862"/>
              <a:gd name="connsiteY0" fmla="*/ 362083 h 3360312"/>
              <a:gd name="connsiteX1" fmla="*/ 638306 w 5203862"/>
              <a:gd name="connsiteY1" fmla="*/ 1242838 h 3360312"/>
              <a:gd name="connsiteX2" fmla="*/ 3249232 w 5203862"/>
              <a:gd name="connsiteY2" fmla="*/ 2732885 h 3360312"/>
              <a:gd name="connsiteX3" fmla="*/ 4625133 w 5203862"/>
              <a:gd name="connsiteY3" fmla="*/ 1832773 h 3360312"/>
              <a:gd name="connsiteX4" fmla="*/ 0 w 5203862"/>
              <a:gd name="connsiteY4" fmla="*/ 0 h 3360312"/>
              <a:gd name="connsiteX5" fmla="*/ 5203862 w 5203862"/>
              <a:gd name="connsiteY5" fmla="*/ 0 h 3360312"/>
              <a:gd name="connsiteX6" fmla="*/ 5203862 w 5203862"/>
              <a:gd name="connsiteY6" fmla="*/ 3360312 h 3360312"/>
              <a:gd name="connsiteX7" fmla="*/ 0 w 5203862"/>
              <a:gd name="connsiteY7" fmla="*/ 3360312 h 3360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203862" h="3360312">
                <a:moveTo>
                  <a:pt x="2010367" y="362083"/>
                </a:moveTo>
                <a:lnTo>
                  <a:pt x="638306" y="1242838"/>
                </a:lnTo>
                <a:lnTo>
                  <a:pt x="3249232" y="2732885"/>
                </a:lnTo>
                <a:lnTo>
                  <a:pt x="4625133" y="1832773"/>
                </a:lnTo>
                <a:close/>
                <a:moveTo>
                  <a:pt x="0" y="0"/>
                </a:moveTo>
                <a:lnTo>
                  <a:pt x="5203862" y="0"/>
                </a:lnTo>
                <a:lnTo>
                  <a:pt x="5203862" y="3360312"/>
                </a:lnTo>
                <a:lnTo>
                  <a:pt x="0" y="3360312"/>
                </a:lnTo>
                <a:close/>
              </a:path>
            </a:pathLst>
          </a:cu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7528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7" imgH="348" progId="TCLayout.ActiveDocument.1">
                  <p:embed/>
                </p:oleObj>
              </mc:Choice>
              <mc:Fallback>
                <p:oleObj name="think-cell Slide" r:id="rId7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55" name="Text Placeholder 62">
            <a:extLst>
              <a:ext uri="{FF2B5EF4-FFF2-40B4-BE49-F238E27FC236}">
                <a16:creationId xmlns:a16="http://schemas.microsoft.com/office/drawing/2014/main" id="{D0D2C248-8636-4086-8528-683A41C51A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825" y="4607929"/>
            <a:ext cx="4348163" cy="3371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38" name="Text Placeholder 62">
            <a:extLst>
              <a:ext uri="{FF2B5EF4-FFF2-40B4-BE49-F238E27FC236}">
                <a16:creationId xmlns:a16="http://schemas.microsoft.com/office/drawing/2014/main" id="{DD18708D-EA8D-4DDE-83C9-16674B7D77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8824" y="5613015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39" name="Text Placeholder 62">
            <a:extLst>
              <a:ext uri="{FF2B5EF4-FFF2-40B4-BE49-F238E27FC236}">
                <a16:creationId xmlns:a16="http://schemas.microsoft.com/office/drawing/2014/main" id="{269A7AB9-B69D-4730-9E38-81C3989CEA9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58824" y="5880556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0" name="Title 1">
            <a:extLst>
              <a:ext uri="{FF2B5EF4-FFF2-40B4-BE49-F238E27FC236}">
                <a16:creationId xmlns:a16="http://schemas.microsoft.com/office/drawing/2014/main" id="{59FCD213-D785-4335-8F05-8682275C74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2641600"/>
            <a:ext cx="4348163" cy="183145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Deck Title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7DDD2C7-4092-FB94-CCF1-014454528CB2}"/>
              </a:ext>
            </a:extLst>
          </p:cNvPr>
          <p:cNvSpPr txBox="1"/>
          <p:nvPr userDrawn="1"/>
        </p:nvSpPr>
        <p:spPr>
          <a:xfrm>
            <a:off x="3722074" y="1386140"/>
            <a:ext cx="1563687" cy="4043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RN IT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UD AG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36A698C0-E5F1-76C4-5ECD-6813202FA16F}"/>
              </a:ext>
            </a:extLst>
          </p:cNvPr>
          <p:cNvSpPr/>
          <p:nvPr userDrawn="1"/>
        </p:nvSpPr>
        <p:spPr>
          <a:xfrm>
            <a:off x="3211897" y="1352555"/>
            <a:ext cx="15107" cy="471479"/>
          </a:xfrm>
          <a:custGeom>
            <a:avLst/>
            <a:gdLst>
              <a:gd name="connsiteX0" fmla="*/ 7148 w 14297"/>
              <a:gd name="connsiteY0" fmla="*/ 446205 h 446204"/>
              <a:gd name="connsiteX1" fmla="*/ 0 w 14297"/>
              <a:gd name="connsiteY1" fmla="*/ 439069 h 446204"/>
              <a:gd name="connsiteX2" fmla="*/ 0 w 14297"/>
              <a:gd name="connsiteY2" fmla="*/ 7136 h 446204"/>
              <a:gd name="connsiteX3" fmla="*/ 7148 w 14297"/>
              <a:gd name="connsiteY3" fmla="*/ 0 h 446204"/>
              <a:gd name="connsiteX4" fmla="*/ 14297 w 14297"/>
              <a:gd name="connsiteY4" fmla="*/ 7136 h 446204"/>
              <a:gd name="connsiteX5" fmla="*/ 14297 w 14297"/>
              <a:gd name="connsiteY5" fmla="*/ 439069 h 446204"/>
              <a:gd name="connsiteX6" fmla="*/ 7148 w 14297"/>
              <a:gd name="connsiteY6" fmla="*/ 446205 h 446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97" h="446204">
                <a:moveTo>
                  <a:pt x="7148" y="446205"/>
                </a:moveTo>
                <a:cubicBezTo>
                  <a:pt x="3213" y="446205"/>
                  <a:pt x="0" y="443020"/>
                  <a:pt x="0" y="439069"/>
                </a:cubicBezTo>
                <a:lnTo>
                  <a:pt x="0" y="7136"/>
                </a:lnTo>
                <a:cubicBezTo>
                  <a:pt x="0" y="3208"/>
                  <a:pt x="3190" y="0"/>
                  <a:pt x="7148" y="0"/>
                </a:cubicBezTo>
                <a:cubicBezTo>
                  <a:pt x="11107" y="0"/>
                  <a:pt x="14297" y="3185"/>
                  <a:pt x="14297" y="7136"/>
                </a:cubicBezTo>
                <a:lnTo>
                  <a:pt x="14297" y="439069"/>
                </a:lnTo>
                <a:cubicBezTo>
                  <a:pt x="14274" y="443020"/>
                  <a:pt x="11084" y="446205"/>
                  <a:pt x="7148" y="446205"/>
                </a:cubicBezTo>
                <a:close/>
              </a:path>
            </a:pathLst>
          </a:custGeom>
          <a:solidFill>
            <a:schemeClr val="accent1"/>
          </a:solidFill>
          <a:ln w="19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9" name="Picture 8" descr="Icon&#10;&#10;Description automatically generated with medium confidence">
            <a:extLst>
              <a:ext uri="{FF2B5EF4-FFF2-40B4-BE49-F238E27FC236}">
                <a16:creationId xmlns:a16="http://schemas.microsoft.com/office/drawing/2014/main" id="{377D2FBC-4473-8DFC-6392-1983A8C77AC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758824" y="1271888"/>
            <a:ext cx="2229211" cy="7189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0185738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6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6.25E-7 -4.44444E-6 L -0.31315 0.34723 " pathEditMode="relative" rAng="0" ptsTypes="AA">
                                      <p:cBhvr>
                                        <p:cTn id="6" dur="5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664" y="1736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Half Shad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Triangular Shadow A" descr="Shape&#10;&#10;Description automatically generated with medium confidence">
            <a:extLst>
              <a:ext uri="{FF2B5EF4-FFF2-40B4-BE49-F238E27FC236}">
                <a16:creationId xmlns:a16="http://schemas.microsoft.com/office/drawing/2014/main" id="{4FB159F9-D48F-4D0A-AB70-186F0C23916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14058"/>
          <a:stretch/>
        </p:blipFill>
        <p:spPr>
          <a:xfrm>
            <a:off x="4444370" y="5522560"/>
            <a:ext cx="1575429" cy="966788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9164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7" imgH="348" progId="TCLayout.ActiveDocument.1">
                  <p:embed/>
                </p:oleObj>
              </mc:Choice>
              <mc:Fallback>
                <p:oleObj name="think-cell Slide" r:id="rId6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3207" y="508000"/>
            <a:ext cx="4881456" cy="461665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27BD6ED2-4C52-4DF0-8EC0-6EBABC9276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53072" y="1082674"/>
            <a:ext cx="4881152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15" name="Picture Placeholder 20">
            <a:extLst>
              <a:ext uri="{FF2B5EF4-FFF2-40B4-BE49-F238E27FC236}">
                <a16:creationId xmlns:a16="http://schemas.microsoft.com/office/drawing/2014/main" id="{55418667-6066-4E72-81CB-099A07788A3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4844" y="508000"/>
            <a:ext cx="5254955" cy="5176838"/>
          </a:xfrm>
          <a:prstGeom prst="roundRect">
            <a:avLst>
              <a:gd name="adj" fmla="val 1973"/>
            </a:avLst>
          </a:prstGeom>
          <a:solidFill>
            <a:schemeClr val="bg2"/>
          </a:solidFill>
        </p:spPr>
        <p:txBody>
          <a:bodyPr vert="horz" wrap="square" lIns="720000" tIns="0" rIns="720000" bIns="0" rtlCol="0" anchor="ctr">
            <a:noAutofit/>
          </a:bodyPr>
          <a:lstStyle>
            <a:lvl1pPr algn="ctr">
              <a:defRPr lang="en-GB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0F25838C-BE60-A9DE-6895-280344FAF47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82870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vers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9C38-3660-4D6C-BE1E-213DD46D4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  <a:endParaRPr lang="en-GB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735D68F8-3A0B-4A43-B678-289303106D7D}"/>
              </a:ext>
            </a:extLst>
          </p:cNvPr>
          <p:cNvSpPr/>
          <p:nvPr/>
        </p:nvSpPr>
        <p:spPr>
          <a:xfrm rot="16200000">
            <a:off x="3459439" y="1774220"/>
            <a:ext cx="152400" cy="131379"/>
          </a:xfrm>
          <a:prstGeom prst="triangle">
            <a:avLst/>
          </a:prstGeom>
          <a:solidFill>
            <a:schemeClr val="accent3">
              <a:lumMod val="60000"/>
              <a:lumOff val="4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bg1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1F9C2FDC-E2E7-43A8-9B1B-26635F0D07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4845" y="1663700"/>
            <a:ext cx="2526096" cy="4432300"/>
          </a:xfrm>
          <a:prstGeom prst="roundRect">
            <a:avLst>
              <a:gd name="adj" fmla="val 1973"/>
            </a:avLst>
          </a:prstGeom>
          <a:solidFill>
            <a:schemeClr val="bg2">
              <a:lumMod val="50000"/>
            </a:schemeClr>
          </a:solidFill>
        </p:spPr>
        <p:txBody>
          <a:bodyPr vert="horz" wrap="square" lIns="360000" tIns="0" rIns="360000" bIns="180000" rtlCol="0" anchor="ctr">
            <a:noAutofit/>
          </a:bodyPr>
          <a:lstStyle>
            <a:lvl1pPr algn="ctr">
              <a:defRPr lang="en-GB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7F6AE1D3-979E-4718-A785-86557D9C204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903906" y="1663700"/>
            <a:ext cx="2526096" cy="4432300"/>
          </a:xfrm>
          <a:prstGeom prst="roundRect">
            <a:avLst>
              <a:gd name="adj" fmla="val 1973"/>
            </a:avLst>
          </a:prstGeom>
          <a:solidFill>
            <a:schemeClr val="bg2">
              <a:lumMod val="50000"/>
            </a:schemeClr>
          </a:solidFill>
        </p:spPr>
        <p:txBody>
          <a:bodyPr vert="horz" wrap="square" lIns="360000" tIns="0" rIns="360000" bIns="180000" rtlCol="0" anchor="ctr">
            <a:noAutofit/>
          </a:bodyPr>
          <a:lstStyle>
            <a:lvl1pPr algn="ctr">
              <a:defRPr lang="en-GB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77F69791-5875-4F51-AF11-CCB69578C7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EA998BF-8C14-413C-B666-0DC8C2EDA2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7275" y="1663700"/>
            <a:ext cx="4992688" cy="2133600"/>
          </a:xfrm>
          <a:prstGeom prst="roundRect">
            <a:avLst>
              <a:gd name="adj" fmla="val 3885"/>
            </a:avLst>
          </a:prstGeom>
          <a:solidFill>
            <a:schemeClr val="accent3">
              <a:lumMod val="60000"/>
              <a:lumOff val="40000"/>
            </a:schemeClr>
          </a:solidFill>
          <a:effectLst>
            <a:softEdge rad="0"/>
          </a:effectLst>
        </p:spPr>
        <p:txBody>
          <a:bodyPr lIns="108000" tIns="72000" rIns="10800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erson A</a:t>
            </a:r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DD51ACD4-2980-4E08-928E-0DBB2460C389}"/>
              </a:ext>
            </a:extLst>
          </p:cNvPr>
          <p:cNvSpPr/>
          <p:nvPr userDrawn="1"/>
        </p:nvSpPr>
        <p:spPr>
          <a:xfrm rot="5400000">
            <a:off x="8575924" y="4079272"/>
            <a:ext cx="152400" cy="131379"/>
          </a:xfrm>
          <a:prstGeom prst="triangle">
            <a:avLst/>
          </a:prstGeom>
          <a:solidFill>
            <a:schemeClr val="accent5">
              <a:lumMod val="90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bg1"/>
              </a:solidFill>
            </a:endParaRP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B32796B8-C2A4-474E-A193-884954096A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7275" y="3968751"/>
            <a:ext cx="4992688" cy="2133600"/>
          </a:xfrm>
          <a:prstGeom prst="roundRect">
            <a:avLst>
              <a:gd name="adj" fmla="val 3885"/>
            </a:avLst>
          </a:prstGeom>
          <a:solidFill>
            <a:schemeClr val="accent5">
              <a:lumMod val="90000"/>
            </a:schemeClr>
          </a:solidFill>
        </p:spPr>
        <p:txBody>
          <a:bodyPr lIns="108000" tIns="72000" rIns="108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erson B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155E77A4-34E4-7464-296E-0D89B269D5C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6585482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-Stage Conversa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DD9C38-3660-4D6C-BE1E-213DD46D4D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  <a:endParaRPr lang="en-GB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735D68F8-3A0B-4A43-B678-289303106D7D}"/>
              </a:ext>
            </a:extLst>
          </p:cNvPr>
          <p:cNvSpPr/>
          <p:nvPr/>
        </p:nvSpPr>
        <p:spPr>
          <a:xfrm rot="16200000">
            <a:off x="3459439" y="1774220"/>
            <a:ext cx="152400" cy="131379"/>
          </a:xfrm>
          <a:prstGeom prst="triangle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bg1"/>
              </a:solidFill>
            </a:endParaRP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1F9C2FDC-E2E7-43A8-9B1B-26635F0D07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4845" y="1663700"/>
            <a:ext cx="2526096" cy="4432300"/>
          </a:xfrm>
          <a:prstGeom prst="roundRect">
            <a:avLst>
              <a:gd name="adj" fmla="val 1973"/>
            </a:avLst>
          </a:prstGeom>
          <a:solidFill>
            <a:schemeClr val="bg2"/>
          </a:solidFill>
        </p:spPr>
        <p:txBody>
          <a:bodyPr vert="horz" wrap="square" lIns="360000" tIns="0" rIns="360000" bIns="108000" rtlCol="0" anchor="ctr">
            <a:noAutofit/>
          </a:bodyPr>
          <a:lstStyle>
            <a:lvl1pPr algn="ctr">
              <a:defRPr lang="en-GB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2" name="Picture Placeholder 20">
            <a:extLst>
              <a:ext uri="{FF2B5EF4-FFF2-40B4-BE49-F238E27FC236}">
                <a16:creationId xmlns:a16="http://schemas.microsoft.com/office/drawing/2014/main" id="{7F6AE1D3-979E-4718-A785-86557D9C204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903906" y="1663700"/>
            <a:ext cx="2526096" cy="4432300"/>
          </a:xfrm>
          <a:prstGeom prst="roundRect">
            <a:avLst>
              <a:gd name="adj" fmla="val 1973"/>
            </a:avLst>
          </a:prstGeom>
          <a:solidFill>
            <a:schemeClr val="bg2"/>
          </a:solidFill>
        </p:spPr>
        <p:txBody>
          <a:bodyPr vert="horz" wrap="square" lIns="360000" tIns="0" rIns="360000" bIns="108000" rtlCol="0" anchor="ctr">
            <a:noAutofit/>
          </a:bodyPr>
          <a:lstStyle>
            <a:lvl1pPr algn="ctr">
              <a:defRPr lang="en-GB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23" name="Text Placeholder 12">
            <a:extLst>
              <a:ext uri="{FF2B5EF4-FFF2-40B4-BE49-F238E27FC236}">
                <a16:creationId xmlns:a16="http://schemas.microsoft.com/office/drawing/2014/main" id="{77F69791-5875-4F51-AF11-CCB69578C7B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DEA998BF-8C14-413C-B666-0DC8C2EDA2A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97275" y="1663700"/>
            <a:ext cx="4992688" cy="977900"/>
          </a:xfrm>
          <a:prstGeom prst="roundRect">
            <a:avLst>
              <a:gd name="adj" fmla="val 3885"/>
            </a:avLst>
          </a:prstGeom>
          <a:solidFill>
            <a:schemeClr val="bg2"/>
          </a:solidFill>
        </p:spPr>
        <p:txBody>
          <a:bodyPr lIns="108000" tIns="72000" rIns="108000"/>
          <a:lstStyle>
            <a:lvl1pPr>
              <a:defRPr/>
            </a:lvl1pPr>
          </a:lstStyle>
          <a:p>
            <a:pPr lvl="0"/>
            <a:r>
              <a:rPr lang="en-US"/>
              <a:t>Person A</a:t>
            </a:r>
          </a:p>
        </p:txBody>
      </p:sp>
      <p:sp>
        <p:nvSpPr>
          <p:cNvPr id="27" name="Isosceles Triangle 26">
            <a:extLst>
              <a:ext uri="{FF2B5EF4-FFF2-40B4-BE49-F238E27FC236}">
                <a16:creationId xmlns:a16="http://schemas.microsoft.com/office/drawing/2014/main" id="{DD51ACD4-2980-4E08-928E-0DBB2460C389}"/>
              </a:ext>
            </a:extLst>
          </p:cNvPr>
          <p:cNvSpPr/>
          <p:nvPr userDrawn="1"/>
        </p:nvSpPr>
        <p:spPr>
          <a:xfrm rot="5400000">
            <a:off x="8575924" y="2923572"/>
            <a:ext cx="152400" cy="131379"/>
          </a:xfrm>
          <a:prstGeom prst="triangle">
            <a:avLst/>
          </a:prstGeom>
          <a:solidFill>
            <a:schemeClr val="tx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bg1"/>
              </a:solidFill>
            </a:endParaRP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B32796B8-C2A4-474E-A193-884954096AC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97275" y="2820459"/>
            <a:ext cx="4992688" cy="971549"/>
          </a:xfrm>
          <a:prstGeom prst="roundRect">
            <a:avLst>
              <a:gd name="adj" fmla="val 3885"/>
            </a:avLst>
          </a:prstGeom>
          <a:solidFill>
            <a:schemeClr val="tx2"/>
          </a:solidFill>
        </p:spPr>
        <p:txBody>
          <a:bodyPr lIns="108000" tIns="72000" r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erson B</a:t>
            </a:r>
          </a:p>
        </p:txBody>
      </p:sp>
      <p:sp>
        <p:nvSpPr>
          <p:cNvPr id="12" name="Isosceles Triangle 11">
            <a:extLst>
              <a:ext uri="{FF2B5EF4-FFF2-40B4-BE49-F238E27FC236}">
                <a16:creationId xmlns:a16="http://schemas.microsoft.com/office/drawing/2014/main" id="{4A098D1F-4277-4CF4-A56E-4B4AD64CBB61}"/>
              </a:ext>
            </a:extLst>
          </p:cNvPr>
          <p:cNvSpPr/>
          <p:nvPr userDrawn="1"/>
        </p:nvSpPr>
        <p:spPr>
          <a:xfrm rot="16200000">
            <a:off x="3459439" y="4088795"/>
            <a:ext cx="152400" cy="131379"/>
          </a:xfrm>
          <a:prstGeom prst="triangle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bg1"/>
              </a:solidFill>
            </a:endParaRPr>
          </a:p>
        </p:txBody>
      </p:sp>
      <p:sp>
        <p:nvSpPr>
          <p:cNvPr id="13" name="Text Placeholder 24">
            <a:extLst>
              <a:ext uri="{FF2B5EF4-FFF2-40B4-BE49-F238E27FC236}">
                <a16:creationId xmlns:a16="http://schemas.microsoft.com/office/drawing/2014/main" id="{0F5A015F-93BB-4790-9136-CDAFF8AA1B7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97275" y="3970867"/>
            <a:ext cx="4992688" cy="977900"/>
          </a:xfrm>
          <a:prstGeom prst="roundRect">
            <a:avLst>
              <a:gd name="adj" fmla="val 3885"/>
            </a:avLst>
          </a:prstGeom>
          <a:solidFill>
            <a:schemeClr val="bg2"/>
          </a:solidFill>
        </p:spPr>
        <p:txBody>
          <a:bodyPr lIns="108000" tIns="72000" rIns="108000"/>
          <a:lstStyle>
            <a:lvl1pPr>
              <a:defRPr/>
            </a:lvl1pPr>
          </a:lstStyle>
          <a:p>
            <a:pPr lvl="0"/>
            <a:r>
              <a:rPr lang="en-US"/>
              <a:t>Person A</a:t>
            </a:r>
          </a:p>
        </p:txBody>
      </p:sp>
      <p:sp>
        <p:nvSpPr>
          <p:cNvPr id="14" name="Isosceles Triangle 13">
            <a:extLst>
              <a:ext uri="{FF2B5EF4-FFF2-40B4-BE49-F238E27FC236}">
                <a16:creationId xmlns:a16="http://schemas.microsoft.com/office/drawing/2014/main" id="{055BA999-4BBD-4839-A876-EBC417B5E975}"/>
              </a:ext>
            </a:extLst>
          </p:cNvPr>
          <p:cNvSpPr/>
          <p:nvPr userDrawn="1"/>
        </p:nvSpPr>
        <p:spPr>
          <a:xfrm rot="5400000">
            <a:off x="8575924" y="5238147"/>
            <a:ext cx="152400" cy="131379"/>
          </a:xfrm>
          <a:prstGeom prst="triangle">
            <a:avLst/>
          </a:prstGeom>
          <a:solidFill>
            <a:schemeClr val="tx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bg1"/>
              </a:solidFill>
            </a:endParaRPr>
          </a:p>
        </p:txBody>
      </p:sp>
      <p:sp>
        <p:nvSpPr>
          <p:cNvPr id="15" name="Text Placeholder 24">
            <a:extLst>
              <a:ext uri="{FF2B5EF4-FFF2-40B4-BE49-F238E27FC236}">
                <a16:creationId xmlns:a16="http://schemas.microsoft.com/office/drawing/2014/main" id="{8EADD8D1-F271-4D03-AEB0-452EBA7361A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97275" y="5127626"/>
            <a:ext cx="4992688" cy="971549"/>
          </a:xfrm>
          <a:prstGeom prst="roundRect">
            <a:avLst>
              <a:gd name="adj" fmla="val 3885"/>
            </a:avLst>
          </a:prstGeom>
          <a:solidFill>
            <a:schemeClr val="tx2"/>
          </a:solidFill>
        </p:spPr>
        <p:txBody>
          <a:bodyPr lIns="108000" tIns="72000" rIns="10800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Person B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885EC871-F9C3-6814-D602-782A7B99EC2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95169385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-Chart Right + Finding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91BE15F-454F-4B8B-85FC-A73330B2DFF1}"/>
              </a:ext>
            </a:extLst>
          </p:cNvPr>
          <p:cNvSpPr/>
          <p:nvPr userDrawn="1"/>
        </p:nvSpPr>
        <p:spPr>
          <a:xfrm>
            <a:off x="8360626" y="3"/>
            <a:ext cx="3831373" cy="6858000"/>
          </a:xfrm>
          <a:prstGeom prst="rect">
            <a:avLst/>
          </a:prstGeo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08429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508000"/>
            <a:ext cx="7049239" cy="461665"/>
          </a:xfrm>
        </p:spPr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C5B7306-42A3-46C2-B5CB-A32525F80CC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7049239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47E07808-59A9-44FB-9ADA-04DFF1B10A74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772845" y="1663700"/>
            <a:ext cx="7050355" cy="4432300"/>
          </a:xfrm>
          <a:prstGeom prst="rect">
            <a:avLst/>
          </a:prstGeom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D9C3C52E-4EDF-44E4-B801-B89126F64CD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24900" y="1079500"/>
            <a:ext cx="2705100" cy="5016500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/>
            </a:lvl1pPr>
          </a:lstStyle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10" name="Picture 9" descr="Logo, icon&#10;&#10;Description automatically generated">
            <a:extLst>
              <a:ext uri="{FF2B5EF4-FFF2-40B4-BE49-F238E27FC236}">
                <a16:creationId xmlns:a16="http://schemas.microsoft.com/office/drawing/2014/main" id="{5C00230D-286B-5A09-1906-F2B780BCA714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duotone>
              <a:schemeClr val="bg2">
                <a:shade val="45000"/>
                <a:satMod val="135000"/>
              </a:schemeClr>
              <a:prstClr val="white"/>
            </a:duotone>
            <a:alphaModFix amt="35000"/>
          </a:blip>
          <a:stretch>
            <a:fillRect/>
          </a:stretch>
        </p:blipFill>
        <p:spPr>
          <a:xfrm>
            <a:off x="9122321" y="4899330"/>
            <a:ext cx="1910258" cy="1958667"/>
          </a:xfrm>
          <a:prstGeom prst="rect">
            <a:avLst/>
          </a:prstGeom>
        </p:spPr>
      </p:pic>
      <p:pic>
        <p:nvPicPr>
          <p:cNvPr id="4" name="Picture 3" descr="Icon&#10;&#10;Description automatically generated with medium confidence">
            <a:extLst>
              <a:ext uri="{FF2B5EF4-FFF2-40B4-BE49-F238E27FC236}">
                <a16:creationId xmlns:a16="http://schemas.microsoft.com/office/drawing/2014/main" id="{B4F1891A-DDB5-B3CA-D74D-5B4FED6C4313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3969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053281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o Are They / Why Do They Ca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2DE96B58-6B00-4409-B77A-3A567D82BB07}"/>
              </a:ext>
            </a:extLst>
          </p:cNvPr>
          <p:cNvSpPr/>
          <p:nvPr userDrawn="1"/>
        </p:nvSpPr>
        <p:spPr>
          <a:xfrm>
            <a:off x="0" y="0"/>
            <a:ext cx="4206877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2"/>
              </a:solidFill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200476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778E3DD5-248E-414A-B21E-08EDBF99EA6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270500" y="1674999"/>
            <a:ext cx="6159500" cy="720000"/>
          </a:xfrm>
          <a:prstGeom prst="rect">
            <a:avLst/>
          </a:prstGeom>
        </p:spPr>
        <p:txBody>
          <a:bodyPr anchor="ctr"/>
          <a:lstStyle>
            <a:lvl1pPr>
              <a:defRPr sz="1400" b="0">
                <a:solidFill>
                  <a:schemeClr val="tx2"/>
                </a:solidFill>
              </a:defRPr>
            </a:lvl1pPr>
            <a:lvl2pPr>
              <a:defRPr sz="1200" b="0">
                <a:solidFill>
                  <a:schemeClr val="tx2"/>
                </a:solidFill>
              </a:defRPr>
            </a:lvl2pPr>
            <a:lvl3pPr>
              <a:defRPr sz="1200" b="0">
                <a:solidFill>
                  <a:schemeClr val="tx2"/>
                </a:solidFill>
              </a:defRPr>
            </a:lvl3pPr>
            <a:lvl4pPr>
              <a:defRPr sz="1200" b="0">
                <a:solidFill>
                  <a:schemeClr val="tx2"/>
                </a:solidFill>
              </a:defRPr>
            </a:lvl4pPr>
            <a:lvl5pPr>
              <a:defRPr sz="1200" b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add text here.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5CED6A0-DB7D-4DFE-B8CB-D3667B965BC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379034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F1FF1490-9BB4-459C-8075-65AE6753990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79034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1E40D821-A46D-4072-8721-8D9583248D5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379034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AC9168FA-AB01-4934-B1A9-054EB5B3974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4379034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A38FDEAF-6E35-42D6-BEF0-473AEB66C06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4379034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31" name="Text Placeholder 10">
            <a:extLst>
              <a:ext uri="{FF2B5EF4-FFF2-40B4-BE49-F238E27FC236}">
                <a16:creationId xmlns:a16="http://schemas.microsoft.com/office/drawing/2014/main" id="{8DC974DD-9935-475A-AB76-E32E74734C3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270500" y="2590899"/>
            <a:ext cx="6159500" cy="720000"/>
          </a:xfrm>
          <a:prstGeom prst="rect">
            <a:avLst/>
          </a:prstGeom>
        </p:spPr>
        <p:txBody>
          <a:bodyPr anchor="ctr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4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add text here.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FBD8F983-A745-45CE-9EAC-5009C734068D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270500" y="3506799"/>
            <a:ext cx="6159500" cy="7200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add text here.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13356E22-785A-4B79-BB51-FC125C9E449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270500" y="4422699"/>
            <a:ext cx="6159500" cy="7200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add text here.</a:t>
            </a:r>
          </a:p>
        </p:txBody>
      </p:sp>
      <p:sp>
        <p:nvSpPr>
          <p:cNvPr id="34" name="Text Placeholder 10">
            <a:extLst>
              <a:ext uri="{FF2B5EF4-FFF2-40B4-BE49-F238E27FC236}">
                <a16:creationId xmlns:a16="http://schemas.microsoft.com/office/drawing/2014/main" id="{4F0285BF-5412-432D-92BA-956723105869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5270500" y="5338600"/>
            <a:ext cx="6159500" cy="720000"/>
          </a:xfrm>
          <a:prstGeom prst="rect">
            <a:avLst/>
          </a:prstGeom>
        </p:spPr>
        <p:txBody>
          <a:bodyPr anchor="ctr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4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1200" b="0" kern="1200" spc="-10" baseline="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add text here.</a:t>
            </a:r>
          </a:p>
        </p:txBody>
      </p:sp>
      <p:sp>
        <p:nvSpPr>
          <p:cNvPr id="36" name="Text Placeholder 12">
            <a:extLst>
              <a:ext uri="{FF2B5EF4-FFF2-40B4-BE49-F238E27FC236}">
                <a16:creationId xmlns:a16="http://schemas.microsoft.com/office/drawing/2014/main" id="{FC637CE5-D9B7-425F-AC23-0B65C4588C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  <p:sp>
        <p:nvSpPr>
          <p:cNvPr id="44" name="Text Placeholder 10">
            <a:extLst>
              <a:ext uri="{FF2B5EF4-FFF2-40B4-BE49-F238E27FC236}">
                <a16:creationId xmlns:a16="http://schemas.microsoft.com/office/drawing/2014/main" id="{0A621991-FC4A-4A7B-9F54-E8C3EB52736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000" y="1674998"/>
            <a:ext cx="2705100" cy="4421001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add text here. </a:t>
            </a:r>
            <a:br>
              <a:rPr lang="en-US"/>
            </a:br>
            <a:r>
              <a:rPr lang="en-US"/>
              <a:t>When pasting copy from other slides, be sure to right-click and choose ‘Keep text only’. </a:t>
            </a:r>
            <a:br>
              <a:rPr lang="en-US"/>
            </a:br>
            <a:r>
              <a:rPr lang="en-US"/>
              <a:t>To increase bullet level, select your text and press Tab.</a:t>
            </a:r>
            <a:br>
              <a:rPr lang="en-US"/>
            </a:br>
            <a:r>
              <a:rPr lang="en-US"/>
              <a:t>To decrease bullet level, select your bullet text and press Shift + Tab.</a:t>
            </a:r>
            <a:br>
              <a:rPr lang="en-US"/>
            </a:br>
            <a:r>
              <a:rPr lang="en-US"/>
              <a:t>To start a new line without the paragraph spacing press Shift + Enter</a:t>
            </a:r>
          </a:p>
        </p:txBody>
      </p:sp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39996E09-1CD1-B621-DF6C-29A84F859590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295372" y="6483689"/>
            <a:ext cx="726456" cy="23428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943829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 / Partner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55653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5CED6A0-DB7D-4DFE-B8CB-D3667B965BC2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2000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F1FF1490-9BB4-459C-8075-65AE6753990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62000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1E40D821-A46D-4072-8721-8D9583248D5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62000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AC9168FA-AB01-4934-B1A9-054EB5B3974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62000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A38FDEAF-6E35-42D6-BEF0-473AEB66C063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62000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16D02F38-5936-4560-9494-601114C9C44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664592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71DDBB86-44CE-48BA-87A4-FF67D0DCDD50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664592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0" name="Picture Placeholder 4">
            <a:extLst>
              <a:ext uri="{FF2B5EF4-FFF2-40B4-BE49-F238E27FC236}">
                <a16:creationId xmlns:a16="http://schemas.microsoft.com/office/drawing/2014/main" id="{8268148F-6561-47D1-9FD0-3F2CF799C73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664592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B937F649-CF29-46F3-8AF7-20723678585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664592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2" name="Picture Placeholder 4">
            <a:extLst>
              <a:ext uri="{FF2B5EF4-FFF2-40B4-BE49-F238E27FC236}">
                <a16:creationId xmlns:a16="http://schemas.microsoft.com/office/drawing/2014/main" id="{730E7B3F-FB46-4919-B899-7C6089EA25FB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1664592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3" name="Picture Placeholder 4">
            <a:extLst>
              <a:ext uri="{FF2B5EF4-FFF2-40B4-BE49-F238E27FC236}">
                <a16:creationId xmlns:a16="http://schemas.microsoft.com/office/drawing/2014/main" id="{C3F8D5CF-7DB2-48FA-921C-6B7582F0C6AD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567184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E83967F7-77AE-4556-ACDC-30E94750141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67184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5" name="Picture Placeholder 4">
            <a:extLst>
              <a:ext uri="{FF2B5EF4-FFF2-40B4-BE49-F238E27FC236}">
                <a16:creationId xmlns:a16="http://schemas.microsoft.com/office/drawing/2014/main" id="{679C5422-4FD7-4627-B8BC-8B224C79148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567184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6" name="Picture Placeholder 4">
            <a:extLst>
              <a:ext uri="{FF2B5EF4-FFF2-40B4-BE49-F238E27FC236}">
                <a16:creationId xmlns:a16="http://schemas.microsoft.com/office/drawing/2014/main" id="{D9D4D56B-6935-4AC4-994D-72B61DD3CC2E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67184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7" name="Picture Placeholder 4">
            <a:extLst>
              <a:ext uri="{FF2B5EF4-FFF2-40B4-BE49-F238E27FC236}">
                <a16:creationId xmlns:a16="http://schemas.microsoft.com/office/drawing/2014/main" id="{CE804E83-987B-42D9-A427-94717C84415E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2567184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8" name="Picture Placeholder 4">
            <a:extLst>
              <a:ext uri="{FF2B5EF4-FFF2-40B4-BE49-F238E27FC236}">
                <a16:creationId xmlns:a16="http://schemas.microsoft.com/office/drawing/2014/main" id="{6ABB5748-E288-48E6-99AC-77674FA9CED0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469776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9" name="Picture Placeholder 4">
            <a:extLst>
              <a:ext uri="{FF2B5EF4-FFF2-40B4-BE49-F238E27FC236}">
                <a16:creationId xmlns:a16="http://schemas.microsoft.com/office/drawing/2014/main" id="{C824FB1F-30C3-4B0D-85A1-EA7C88C72F1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469776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77D32190-EC6C-477C-AE0E-A953DA5139E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469776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573BFB46-F688-4878-9660-8396C813E885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469776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2" name="Picture Placeholder 4">
            <a:extLst>
              <a:ext uri="{FF2B5EF4-FFF2-40B4-BE49-F238E27FC236}">
                <a16:creationId xmlns:a16="http://schemas.microsoft.com/office/drawing/2014/main" id="{C0C73599-F039-4C28-9C8C-3AEB9EAAB4D9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469776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3" name="Picture Placeholder 4">
            <a:extLst>
              <a:ext uri="{FF2B5EF4-FFF2-40B4-BE49-F238E27FC236}">
                <a16:creationId xmlns:a16="http://schemas.microsoft.com/office/drawing/2014/main" id="{7F937B12-B552-4D32-AE53-4CD08FBD9052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4372368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4" name="Picture Placeholder 4">
            <a:extLst>
              <a:ext uri="{FF2B5EF4-FFF2-40B4-BE49-F238E27FC236}">
                <a16:creationId xmlns:a16="http://schemas.microsoft.com/office/drawing/2014/main" id="{A62DA57D-F8A7-4EAA-8065-A0FC3C1BBA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72368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5" name="Picture Placeholder 4">
            <a:extLst>
              <a:ext uri="{FF2B5EF4-FFF2-40B4-BE49-F238E27FC236}">
                <a16:creationId xmlns:a16="http://schemas.microsoft.com/office/drawing/2014/main" id="{F525989E-A19B-4EFC-800C-3D10844C2546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372368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6" name="Picture Placeholder 4">
            <a:extLst>
              <a:ext uri="{FF2B5EF4-FFF2-40B4-BE49-F238E27FC236}">
                <a16:creationId xmlns:a16="http://schemas.microsoft.com/office/drawing/2014/main" id="{8BFB81EC-420C-4AF1-A28A-E76BB2237F36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4372368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7" name="Picture Placeholder 4">
            <a:extLst>
              <a:ext uri="{FF2B5EF4-FFF2-40B4-BE49-F238E27FC236}">
                <a16:creationId xmlns:a16="http://schemas.microsoft.com/office/drawing/2014/main" id="{2EDD47C2-1A61-4F39-ABEF-EB6D5FCF8DC2}"/>
              </a:ext>
            </a:extLst>
          </p:cNvPr>
          <p:cNvSpPr>
            <a:spLocks noGrp="1"/>
          </p:cNvSpPr>
          <p:nvPr>
            <p:ph type="pic" sz="quarter" idx="46" hasCustomPrompt="1"/>
          </p:nvPr>
        </p:nvSpPr>
        <p:spPr>
          <a:xfrm>
            <a:off x="4372368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8" name="Picture Placeholder 4">
            <a:extLst>
              <a:ext uri="{FF2B5EF4-FFF2-40B4-BE49-F238E27FC236}">
                <a16:creationId xmlns:a16="http://schemas.microsoft.com/office/drawing/2014/main" id="{C8FADCA4-3C14-40F0-A074-B3FC88149165}"/>
              </a:ext>
            </a:extLst>
          </p:cNvPr>
          <p:cNvSpPr>
            <a:spLocks noGrp="1"/>
          </p:cNvSpPr>
          <p:nvPr>
            <p:ph type="pic" sz="quarter" idx="47" hasCustomPrompt="1"/>
          </p:nvPr>
        </p:nvSpPr>
        <p:spPr>
          <a:xfrm>
            <a:off x="5274960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9" name="Picture Placeholder 4">
            <a:extLst>
              <a:ext uri="{FF2B5EF4-FFF2-40B4-BE49-F238E27FC236}">
                <a16:creationId xmlns:a16="http://schemas.microsoft.com/office/drawing/2014/main" id="{460653C3-4A92-4A73-BFB0-D5EF1108DA9B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274960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0" name="Picture Placeholder 4">
            <a:extLst>
              <a:ext uri="{FF2B5EF4-FFF2-40B4-BE49-F238E27FC236}">
                <a16:creationId xmlns:a16="http://schemas.microsoft.com/office/drawing/2014/main" id="{1A364F70-38B8-40F7-A02F-03A53A55E377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274960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1" name="Picture Placeholder 4">
            <a:extLst>
              <a:ext uri="{FF2B5EF4-FFF2-40B4-BE49-F238E27FC236}">
                <a16:creationId xmlns:a16="http://schemas.microsoft.com/office/drawing/2014/main" id="{DD7CFB6C-732E-496C-A051-B4D18E8C5DE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274960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2" name="Picture Placeholder 4">
            <a:extLst>
              <a:ext uri="{FF2B5EF4-FFF2-40B4-BE49-F238E27FC236}">
                <a16:creationId xmlns:a16="http://schemas.microsoft.com/office/drawing/2014/main" id="{1D8896CF-5DF0-49AF-8EB9-418962F67264}"/>
              </a:ext>
            </a:extLst>
          </p:cNvPr>
          <p:cNvSpPr>
            <a:spLocks noGrp="1"/>
          </p:cNvSpPr>
          <p:nvPr>
            <p:ph type="pic" sz="quarter" idx="51" hasCustomPrompt="1"/>
          </p:nvPr>
        </p:nvSpPr>
        <p:spPr>
          <a:xfrm>
            <a:off x="5274960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3" name="Picture Placeholder 4">
            <a:extLst>
              <a:ext uri="{FF2B5EF4-FFF2-40B4-BE49-F238E27FC236}">
                <a16:creationId xmlns:a16="http://schemas.microsoft.com/office/drawing/2014/main" id="{718578C4-6132-42D4-B97E-A4AE8AC305B6}"/>
              </a:ext>
            </a:extLst>
          </p:cNvPr>
          <p:cNvSpPr>
            <a:spLocks noGrp="1"/>
          </p:cNvSpPr>
          <p:nvPr>
            <p:ph type="pic" sz="quarter" idx="52" hasCustomPrompt="1"/>
          </p:nvPr>
        </p:nvSpPr>
        <p:spPr>
          <a:xfrm>
            <a:off x="6177552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4" name="Picture Placeholder 4">
            <a:extLst>
              <a:ext uri="{FF2B5EF4-FFF2-40B4-BE49-F238E27FC236}">
                <a16:creationId xmlns:a16="http://schemas.microsoft.com/office/drawing/2014/main" id="{E46048AE-5D4B-4E7A-98D8-7DE73AD240BB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177552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5" name="Picture Placeholder 4">
            <a:extLst>
              <a:ext uri="{FF2B5EF4-FFF2-40B4-BE49-F238E27FC236}">
                <a16:creationId xmlns:a16="http://schemas.microsoft.com/office/drawing/2014/main" id="{A443B257-7E87-4040-A393-BFC3F878352C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6177552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6" name="Picture Placeholder 4">
            <a:extLst>
              <a:ext uri="{FF2B5EF4-FFF2-40B4-BE49-F238E27FC236}">
                <a16:creationId xmlns:a16="http://schemas.microsoft.com/office/drawing/2014/main" id="{5C930461-EDBE-46E9-91AB-0F67A97416B6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6177552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7" name="Picture Placeholder 4">
            <a:extLst>
              <a:ext uri="{FF2B5EF4-FFF2-40B4-BE49-F238E27FC236}">
                <a16:creationId xmlns:a16="http://schemas.microsoft.com/office/drawing/2014/main" id="{AAE691DF-3467-4FA8-877A-2706D10D3E1B}"/>
              </a:ext>
            </a:extLst>
          </p:cNvPr>
          <p:cNvSpPr>
            <a:spLocks noGrp="1"/>
          </p:cNvSpPr>
          <p:nvPr>
            <p:ph type="pic" sz="quarter" idx="56" hasCustomPrompt="1"/>
          </p:nvPr>
        </p:nvSpPr>
        <p:spPr>
          <a:xfrm>
            <a:off x="6177552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8" name="Picture Placeholder 4">
            <a:extLst>
              <a:ext uri="{FF2B5EF4-FFF2-40B4-BE49-F238E27FC236}">
                <a16:creationId xmlns:a16="http://schemas.microsoft.com/office/drawing/2014/main" id="{5939C88E-848F-4874-927A-2B17208B30C6}"/>
              </a:ext>
            </a:extLst>
          </p:cNvPr>
          <p:cNvSpPr>
            <a:spLocks noGrp="1"/>
          </p:cNvSpPr>
          <p:nvPr>
            <p:ph type="pic" sz="quarter" idx="57" hasCustomPrompt="1"/>
          </p:nvPr>
        </p:nvSpPr>
        <p:spPr>
          <a:xfrm>
            <a:off x="7080144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9" name="Picture Placeholder 4">
            <a:extLst>
              <a:ext uri="{FF2B5EF4-FFF2-40B4-BE49-F238E27FC236}">
                <a16:creationId xmlns:a16="http://schemas.microsoft.com/office/drawing/2014/main" id="{C6935159-337A-4843-90D3-86D6E9B1F83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7080144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0" name="Picture Placeholder 4">
            <a:extLst>
              <a:ext uri="{FF2B5EF4-FFF2-40B4-BE49-F238E27FC236}">
                <a16:creationId xmlns:a16="http://schemas.microsoft.com/office/drawing/2014/main" id="{1614EA9F-E16C-4BB3-8C82-09DC266CFEC6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7080144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1" name="Picture Placeholder 4">
            <a:extLst>
              <a:ext uri="{FF2B5EF4-FFF2-40B4-BE49-F238E27FC236}">
                <a16:creationId xmlns:a16="http://schemas.microsoft.com/office/drawing/2014/main" id="{5C7FE8F9-44F6-4A87-A1F1-264D98D78E07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7080144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2" name="Picture Placeholder 4">
            <a:extLst>
              <a:ext uri="{FF2B5EF4-FFF2-40B4-BE49-F238E27FC236}">
                <a16:creationId xmlns:a16="http://schemas.microsoft.com/office/drawing/2014/main" id="{F12F38A3-A617-40F5-8E6B-3FB0D6E2FD78}"/>
              </a:ext>
            </a:extLst>
          </p:cNvPr>
          <p:cNvSpPr>
            <a:spLocks noGrp="1"/>
          </p:cNvSpPr>
          <p:nvPr>
            <p:ph type="pic" sz="quarter" idx="61" hasCustomPrompt="1"/>
          </p:nvPr>
        </p:nvSpPr>
        <p:spPr>
          <a:xfrm>
            <a:off x="7080144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3" name="Picture Placeholder 4">
            <a:extLst>
              <a:ext uri="{FF2B5EF4-FFF2-40B4-BE49-F238E27FC236}">
                <a16:creationId xmlns:a16="http://schemas.microsoft.com/office/drawing/2014/main" id="{C3AF23B8-2282-4564-8CAD-5FE840071B28}"/>
              </a:ext>
            </a:extLst>
          </p:cNvPr>
          <p:cNvSpPr>
            <a:spLocks noGrp="1"/>
          </p:cNvSpPr>
          <p:nvPr>
            <p:ph type="pic" sz="quarter" idx="62" hasCustomPrompt="1"/>
          </p:nvPr>
        </p:nvSpPr>
        <p:spPr>
          <a:xfrm>
            <a:off x="7982736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4" name="Picture Placeholder 4">
            <a:extLst>
              <a:ext uri="{FF2B5EF4-FFF2-40B4-BE49-F238E27FC236}">
                <a16:creationId xmlns:a16="http://schemas.microsoft.com/office/drawing/2014/main" id="{D4705C91-A9F9-4E2C-BF7C-4CDA6F6CCEA8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7982736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5" name="Picture Placeholder 4">
            <a:extLst>
              <a:ext uri="{FF2B5EF4-FFF2-40B4-BE49-F238E27FC236}">
                <a16:creationId xmlns:a16="http://schemas.microsoft.com/office/drawing/2014/main" id="{1849E96E-9C84-48C8-87E3-58630630DA37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7982736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6" name="Picture Placeholder 4">
            <a:extLst>
              <a:ext uri="{FF2B5EF4-FFF2-40B4-BE49-F238E27FC236}">
                <a16:creationId xmlns:a16="http://schemas.microsoft.com/office/drawing/2014/main" id="{7AE087A9-86D9-49CB-8CCD-962BBF6512B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7982736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7" name="Picture Placeholder 4">
            <a:extLst>
              <a:ext uri="{FF2B5EF4-FFF2-40B4-BE49-F238E27FC236}">
                <a16:creationId xmlns:a16="http://schemas.microsoft.com/office/drawing/2014/main" id="{2AB389EC-2271-4839-BBC7-CEBE84BC8FE4}"/>
              </a:ext>
            </a:extLst>
          </p:cNvPr>
          <p:cNvSpPr>
            <a:spLocks noGrp="1"/>
          </p:cNvSpPr>
          <p:nvPr>
            <p:ph type="pic" sz="quarter" idx="66" hasCustomPrompt="1"/>
          </p:nvPr>
        </p:nvSpPr>
        <p:spPr>
          <a:xfrm>
            <a:off x="7982736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8" name="Picture Placeholder 4">
            <a:extLst>
              <a:ext uri="{FF2B5EF4-FFF2-40B4-BE49-F238E27FC236}">
                <a16:creationId xmlns:a16="http://schemas.microsoft.com/office/drawing/2014/main" id="{EDB0D930-164E-41D3-A478-0F6120EFDB78}"/>
              </a:ext>
            </a:extLst>
          </p:cNvPr>
          <p:cNvSpPr>
            <a:spLocks noGrp="1"/>
          </p:cNvSpPr>
          <p:nvPr>
            <p:ph type="pic" sz="quarter" idx="67" hasCustomPrompt="1"/>
          </p:nvPr>
        </p:nvSpPr>
        <p:spPr>
          <a:xfrm>
            <a:off x="8885328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9" name="Picture Placeholder 4">
            <a:extLst>
              <a:ext uri="{FF2B5EF4-FFF2-40B4-BE49-F238E27FC236}">
                <a16:creationId xmlns:a16="http://schemas.microsoft.com/office/drawing/2014/main" id="{A8FC3F0F-7B75-43FF-A789-69C563387283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8885328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0" name="Picture Placeholder 4">
            <a:extLst>
              <a:ext uri="{FF2B5EF4-FFF2-40B4-BE49-F238E27FC236}">
                <a16:creationId xmlns:a16="http://schemas.microsoft.com/office/drawing/2014/main" id="{062AFF2E-54D9-4FFA-BD49-F3E2C3FC8262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8885328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1" name="Picture Placeholder 4">
            <a:extLst>
              <a:ext uri="{FF2B5EF4-FFF2-40B4-BE49-F238E27FC236}">
                <a16:creationId xmlns:a16="http://schemas.microsoft.com/office/drawing/2014/main" id="{0E47EAB5-D105-4C2C-B503-1B64C0C04FAE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8885328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2" name="Picture Placeholder 4">
            <a:extLst>
              <a:ext uri="{FF2B5EF4-FFF2-40B4-BE49-F238E27FC236}">
                <a16:creationId xmlns:a16="http://schemas.microsoft.com/office/drawing/2014/main" id="{D44083F9-033A-4156-8A63-C062B95953A2}"/>
              </a:ext>
            </a:extLst>
          </p:cNvPr>
          <p:cNvSpPr>
            <a:spLocks noGrp="1"/>
          </p:cNvSpPr>
          <p:nvPr>
            <p:ph type="pic" sz="quarter" idx="71" hasCustomPrompt="1"/>
          </p:nvPr>
        </p:nvSpPr>
        <p:spPr>
          <a:xfrm>
            <a:off x="8885328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3" name="Picture Placeholder 4">
            <a:extLst>
              <a:ext uri="{FF2B5EF4-FFF2-40B4-BE49-F238E27FC236}">
                <a16:creationId xmlns:a16="http://schemas.microsoft.com/office/drawing/2014/main" id="{84BCA7EE-D0C4-45B2-B06C-C1350294EFD0}"/>
              </a:ext>
            </a:extLst>
          </p:cNvPr>
          <p:cNvSpPr>
            <a:spLocks noGrp="1"/>
          </p:cNvSpPr>
          <p:nvPr>
            <p:ph type="pic" sz="quarter" idx="72" hasCustomPrompt="1"/>
          </p:nvPr>
        </p:nvSpPr>
        <p:spPr>
          <a:xfrm>
            <a:off x="9787920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CBAB67A5-6BC3-485E-AEB9-8B098EEFCA54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9787920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3611B1C7-670C-41F2-81E7-65BD555CB981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9787920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AE9B4E46-1F04-4D33-8882-556E22A36C5D}"/>
              </a:ext>
            </a:extLst>
          </p:cNvPr>
          <p:cNvSpPr>
            <a:spLocks noGrp="1"/>
          </p:cNvSpPr>
          <p:nvPr>
            <p:ph type="pic" sz="quarter" idx="75" hasCustomPrompt="1"/>
          </p:nvPr>
        </p:nvSpPr>
        <p:spPr>
          <a:xfrm>
            <a:off x="9787920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7" name="Picture Placeholder 4">
            <a:extLst>
              <a:ext uri="{FF2B5EF4-FFF2-40B4-BE49-F238E27FC236}">
                <a16:creationId xmlns:a16="http://schemas.microsoft.com/office/drawing/2014/main" id="{030DB262-0996-45F6-80F6-72F7645B0135}"/>
              </a:ext>
            </a:extLst>
          </p:cNvPr>
          <p:cNvSpPr>
            <a:spLocks noGrp="1"/>
          </p:cNvSpPr>
          <p:nvPr>
            <p:ph type="pic" sz="quarter" idx="76" hasCustomPrompt="1"/>
          </p:nvPr>
        </p:nvSpPr>
        <p:spPr>
          <a:xfrm>
            <a:off x="9787920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8" name="Picture Placeholder 4">
            <a:extLst>
              <a:ext uri="{FF2B5EF4-FFF2-40B4-BE49-F238E27FC236}">
                <a16:creationId xmlns:a16="http://schemas.microsoft.com/office/drawing/2014/main" id="{26594215-19FE-41A4-B676-10029CF94D0B}"/>
              </a:ext>
            </a:extLst>
          </p:cNvPr>
          <p:cNvSpPr>
            <a:spLocks noGrp="1"/>
          </p:cNvSpPr>
          <p:nvPr>
            <p:ph type="pic" sz="quarter" idx="77" hasCustomPrompt="1"/>
          </p:nvPr>
        </p:nvSpPr>
        <p:spPr>
          <a:xfrm>
            <a:off x="10690516" y="16749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134F8BED-70EB-4F3B-9B9A-B398955E1FCE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10690516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16EE982E-187C-47A8-973B-C1DB22D18D6A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10690516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DD448810-2686-454F-9654-2EEA3E42B922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10690516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102" name="Picture Placeholder 4">
            <a:extLst>
              <a:ext uri="{FF2B5EF4-FFF2-40B4-BE49-F238E27FC236}">
                <a16:creationId xmlns:a16="http://schemas.microsoft.com/office/drawing/2014/main" id="{1F36F85C-4E14-4277-AB8D-DE191FD61179}"/>
              </a:ext>
            </a:extLst>
          </p:cNvPr>
          <p:cNvSpPr>
            <a:spLocks noGrp="1"/>
          </p:cNvSpPr>
          <p:nvPr>
            <p:ph type="pic" sz="quarter" idx="81" hasCustomPrompt="1"/>
          </p:nvPr>
        </p:nvSpPr>
        <p:spPr>
          <a:xfrm>
            <a:off x="10690516" y="25863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103" name="Text Placeholder 12">
            <a:extLst>
              <a:ext uri="{FF2B5EF4-FFF2-40B4-BE49-F238E27FC236}">
                <a16:creationId xmlns:a16="http://schemas.microsoft.com/office/drawing/2014/main" id="{F82A335A-69EF-4A0F-BC0A-35B70DD7A7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0246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mbrella / Ecosyste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8CF62FE-6FDE-4027-967C-B7A8739040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87413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8CF62FE-6FDE-4027-967C-B7A8739040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9AF31450-8080-468F-8B22-0FE8CE9C04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4400" b="0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69294F9-E484-4B57-ACF8-7707D0C0D9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Headline</a:t>
            </a:r>
          </a:p>
        </p:txBody>
      </p:sp>
      <p:sp>
        <p:nvSpPr>
          <p:cNvPr id="47" name="Picture Placeholder 4">
            <a:extLst>
              <a:ext uri="{FF2B5EF4-FFF2-40B4-BE49-F238E27FC236}">
                <a16:creationId xmlns:a16="http://schemas.microsoft.com/office/drawing/2014/main" id="{F1FF1490-9BB4-459C-8075-65AE6753990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62000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8" name="Picture Placeholder 4">
            <a:extLst>
              <a:ext uri="{FF2B5EF4-FFF2-40B4-BE49-F238E27FC236}">
                <a16:creationId xmlns:a16="http://schemas.microsoft.com/office/drawing/2014/main" id="{1E40D821-A46D-4072-8721-8D9583248D59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62000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9" name="Picture Placeholder 4">
            <a:extLst>
              <a:ext uri="{FF2B5EF4-FFF2-40B4-BE49-F238E27FC236}">
                <a16:creationId xmlns:a16="http://schemas.microsoft.com/office/drawing/2014/main" id="{AC9168FA-AB01-4934-B1A9-054EB5B3974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62000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71DDBB86-44CE-48BA-87A4-FF67D0DCDD50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1664592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0" name="Picture Placeholder 4">
            <a:extLst>
              <a:ext uri="{FF2B5EF4-FFF2-40B4-BE49-F238E27FC236}">
                <a16:creationId xmlns:a16="http://schemas.microsoft.com/office/drawing/2014/main" id="{8268148F-6561-47D1-9FD0-3F2CF799C73B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664592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1" name="Picture Placeholder 4">
            <a:extLst>
              <a:ext uri="{FF2B5EF4-FFF2-40B4-BE49-F238E27FC236}">
                <a16:creationId xmlns:a16="http://schemas.microsoft.com/office/drawing/2014/main" id="{B937F649-CF29-46F3-8AF7-20723678585F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1664592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4" name="Picture Placeholder 4">
            <a:extLst>
              <a:ext uri="{FF2B5EF4-FFF2-40B4-BE49-F238E27FC236}">
                <a16:creationId xmlns:a16="http://schemas.microsoft.com/office/drawing/2014/main" id="{E83967F7-77AE-4556-ACDC-30E947501415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2567184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5" name="Picture Placeholder 4">
            <a:extLst>
              <a:ext uri="{FF2B5EF4-FFF2-40B4-BE49-F238E27FC236}">
                <a16:creationId xmlns:a16="http://schemas.microsoft.com/office/drawing/2014/main" id="{679C5422-4FD7-4627-B8BC-8B224C791483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2567184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6" name="Picture Placeholder 4">
            <a:extLst>
              <a:ext uri="{FF2B5EF4-FFF2-40B4-BE49-F238E27FC236}">
                <a16:creationId xmlns:a16="http://schemas.microsoft.com/office/drawing/2014/main" id="{D9D4D56B-6935-4AC4-994D-72B61DD3CC2E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2567184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59" name="Picture Placeholder 4">
            <a:extLst>
              <a:ext uri="{FF2B5EF4-FFF2-40B4-BE49-F238E27FC236}">
                <a16:creationId xmlns:a16="http://schemas.microsoft.com/office/drawing/2014/main" id="{C824FB1F-30C3-4B0D-85A1-EA7C88C72F1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469776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0" name="Picture Placeholder 4">
            <a:extLst>
              <a:ext uri="{FF2B5EF4-FFF2-40B4-BE49-F238E27FC236}">
                <a16:creationId xmlns:a16="http://schemas.microsoft.com/office/drawing/2014/main" id="{77D32190-EC6C-477C-AE0E-A953DA5139EE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469776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1" name="Picture Placeholder 4">
            <a:extLst>
              <a:ext uri="{FF2B5EF4-FFF2-40B4-BE49-F238E27FC236}">
                <a16:creationId xmlns:a16="http://schemas.microsoft.com/office/drawing/2014/main" id="{573BFB46-F688-4878-9660-8396C813E885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469776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4" name="Picture Placeholder 4">
            <a:extLst>
              <a:ext uri="{FF2B5EF4-FFF2-40B4-BE49-F238E27FC236}">
                <a16:creationId xmlns:a16="http://schemas.microsoft.com/office/drawing/2014/main" id="{A62DA57D-F8A7-4EAA-8065-A0FC3C1BBA7E}"/>
              </a:ext>
            </a:extLst>
          </p:cNvPr>
          <p:cNvSpPr>
            <a:spLocks noGrp="1"/>
          </p:cNvSpPr>
          <p:nvPr>
            <p:ph type="pic" sz="quarter" idx="43" hasCustomPrompt="1"/>
          </p:nvPr>
        </p:nvSpPr>
        <p:spPr>
          <a:xfrm>
            <a:off x="4372368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5" name="Picture Placeholder 4">
            <a:extLst>
              <a:ext uri="{FF2B5EF4-FFF2-40B4-BE49-F238E27FC236}">
                <a16:creationId xmlns:a16="http://schemas.microsoft.com/office/drawing/2014/main" id="{F525989E-A19B-4EFC-800C-3D10844C2546}"/>
              </a:ext>
            </a:extLst>
          </p:cNvPr>
          <p:cNvSpPr>
            <a:spLocks noGrp="1"/>
          </p:cNvSpPr>
          <p:nvPr>
            <p:ph type="pic" sz="quarter" idx="44" hasCustomPrompt="1"/>
          </p:nvPr>
        </p:nvSpPr>
        <p:spPr>
          <a:xfrm>
            <a:off x="4372368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6" name="Picture Placeholder 4">
            <a:extLst>
              <a:ext uri="{FF2B5EF4-FFF2-40B4-BE49-F238E27FC236}">
                <a16:creationId xmlns:a16="http://schemas.microsoft.com/office/drawing/2014/main" id="{8BFB81EC-420C-4AF1-A28A-E76BB2237F36}"/>
              </a:ext>
            </a:extLst>
          </p:cNvPr>
          <p:cNvSpPr>
            <a:spLocks noGrp="1"/>
          </p:cNvSpPr>
          <p:nvPr>
            <p:ph type="pic" sz="quarter" idx="45" hasCustomPrompt="1"/>
          </p:nvPr>
        </p:nvSpPr>
        <p:spPr>
          <a:xfrm>
            <a:off x="4372368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69" name="Picture Placeholder 4">
            <a:extLst>
              <a:ext uri="{FF2B5EF4-FFF2-40B4-BE49-F238E27FC236}">
                <a16:creationId xmlns:a16="http://schemas.microsoft.com/office/drawing/2014/main" id="{460653C3-4A92-4A73-BFB0-D5EF1108DA9B}"/>
              </a:ext>
            </a:extLst>
          </p:cNvPr>
          <p:cNvSpPr>
            <a:spLocks noGrp="1"/>
          </p:cNvSpPr>
          <p:nvPr>
            <p:ph type="pic" sz="quarter" idx="48" hasCustomPrompt="1"/>
          </p:nvPr>
        </p:nvSpPr>
        <p:spPr>
          <a:xfrm>
            <a:off x="5274960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0" name="Picture Placeholder 4">
            <a:extLst>
              <a:ext uri="{FF2B5EF4-FFF2-40B4-BE49-F238E27FC236}">
                <a16:creationId xmlns:a16="http://schemas.microsoft.com/office/drawing/2014/main" id="{1A364F70-38B8-40F7-A02F-03A53A55E377}"/>
              </a:ext>
            </a:extLst>
          </p:cNvPr>
          <p:cNvSpPr>
            <a:spLocks noGrp="1"/>
          </p:cNvSpPr>
          <p:nvPr>
            <p:ph type="pic" sz="quarter" idx="49" hasCustomPrompt="1"/>
          </p:nvPr>
        </p:nvSpPr>
        <p:spPr>
          <a:xfrm>
            <a:off x="5274960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1" name="Picture Placeholder 4">
            <a:extLst>
              <a:ext uri="{FF2B5EF4-FFF2-40B4-BE49-F238E27FC236}">
                <a16:creationId xmlns:a16="http://schemas.microsoft.com/office/drawing/2014/main" id="{DD7CFB6C-732E-496C-A051-B4D18E8C5DE4}"/>
              </a:ext>
            </a:extLst>
          </p:cNvPr>
          <p:cNvSpPr>
            <a:spLocks noGrp="1"/>
          </p:cNvSpPr>
          <p:nvPr>
            <p:ph type="pic" sz="quarter" idx="50" hasCustomPrompt="1"/>
          </p:nvPr>
        </p:nvSpPr>
        <p:spPr>
          <a:xfrm>
            <a:off x="5274960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4" name="Picture Placeholder 4">
            <a:extLst>
              <a:ext uri="{FF2B5EF4-FFF2-40B4-BE49-F238E27FC236}">
                <a16:creationId xmlns:a16="http://schemas.microsoft.com/office/drawing/2014/main" id="{E46048AE-5D4B-4E7A-98D8-7DE73AD240BB}"/>
              </a:ext>
            </a:extLst>
          </p:cNvPr>
          <p:cNvSpPr>
            <a:spLocks noGrp="1"/>
          </p:cNvSpPr>
          <p:nvPr>
            <p:ph type="pic" sz="quarter" idx="53" hasCustomPrompt="1"/>
          </p:nvPr>
        </p:nvSpPr>
        <p:spPr>
          <a:xfrm>
            <a:off x="6177552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5" name="Picture Placeholder 4">
            <a:extLst>
              <a:ext uri="{FF2B5EF4-FFF2-40B4-BE49-F238E27FC236}">
                <a16:creationId xmlns:a16="http://schemas.microsoft.com/office/drawing/2014/main" id="{A443B257-7E87-4040-A393-BFC3F878352C}"/>
              </a:ext>
            </a:extLst>
          </p:cNvPr>
          <p:cNvSpPr>
            <a:spLocks noGrp="1"/>
          </p:cNvSpPr>
          <p:nvPr>
            <p:ph type="pic" sz="quarter" idx="54" hasCustomPrompt="1"/>
          </p:nvPr>
        </p:nvSpPr>
        <p:spPr>
          <a:xfrm>
            <a:off x="6177552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6" name="Picture Placeholder 4">
            <a:extLst>
              <a:ext uri="{FF2B5EF4-FFF2-40B4-BE49-F238E27FC236}">
                <a16:creationId xmlns:a16="http://schemas.microsoft.com/office/drawing/2014/main" id="{5C930461-EDBE-46E9-91AB-0F67A97416B6}"/>
              </a:ext>
            </a:extLst>
          </p:cNvPr>
          <p:cNvSpPr>
            <a:spLocks noGrp="1"/>
          </p:cNvSpPr>
          <p:nvPr>
            <p:ph type="pic" sz="quarter" idx="55" hasCustomPrompt="1"/>
          </p:nvPr>
        </p:nvSpPr>
        <p:spPr>
          <a:xfrm>
            <a:off x="6177552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79" name="Picture Placeholder 4">
            <a:extLst>
              <a:ext uri="{FF2B5EF4-FFF2-40B4-BE49-F238E27FC236}">
                <a16:creationId xmlns:a16="http://schemas.microsoft.com/office/drawing/2014/main" id="{C6935159-337A-4843-90D3-86D6E9B1F83E}"/>
              </a:ext>
            </a:extLst>
          </p:cNvPr>
          <p:cNvSpPr>
            <a:spLocks noGrp="1"/>
          </p:cNvSpPr>
          <p:nvPr>
            <p:ph type="pic" sz="quarter" idx="58" hasCustomPrompt="1"/>
          </p:nvPr>
        </p:nvSpPr>
        <p:spPr>
          <a:xfrm>
            <a:off x="7080144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0" name="Picture Placeholder 4">
            <a:extLst>
              <a:ext uri="{FF2B5EF4-FFF2-40B4-BE49-F238E27FC236}">
                <a16:creationId xmlns:a16="http://schemas.microsoft.com/office/drawing/2014/main" id="{1614EA9F-E16C-4BB3-8C82-09DC266CFEC6}"/>
              </a:ext>
            </a:extLst>
          </p:cNvPr>
          <p:cNvSpPr>
            <a:spLocks noGrp="1"/>
          </p:cNvSpPr>
          <p:nvPr>
            <p:ph type="pic" sz="quarter" idx="59" hasCustomPrompt="1"/>
          </p:nvPr>
        </p:nvSpPr>
        <p:spPr>
          <a:xfrm>
            <a:off x="7080144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1" name="Picture Placeholder 4">
            <a:extLst>
              <a:ext uri="{FF2B5EF4-FFF2-40B4-BE49-F238E27FC236}">
                <a16:creationId xmlns:a16="http://schemas.microsoft.com/office/drawing/2014/main" id="{5C7FE8F9-44F6-4A87-A1F1-264D98D78E07}"/>
              </a:ext>
            </a:extLst>
          </p:cNvPr>
          <p:cNvSpPr>
            <a:spLocks noGrp="1"/>
          </p:cNvSpPr>
          <p:nvPr>
            <p:ph type="pic" sz="quarter" idx="60" hasCustomPrompt="1"/>
          </p:nvPr>
        </p:nvSpPr>
        <p:spPr>
          <a:xfrm>
            <a:off x="7080144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4" name="Picture Placeholder 4">
            <a:extLst>
              <a:ext uri="{FF2B5EF4-FFF2-40B4-BE49-F238E27FC236}">
                <a16:creationId xmlns:a16="http://schemas.microsoft.com/office/drawing/2014/main" id="{D4705C91-A9F9-4E2C-BF7C-4CDA6F6CCEA8}"/>
              </a:ext>
            </a:extLst>
          </p:cNvPr>
          <p:cNvSpPr>
            <a:spLocks noGrp="1"/>
          </p:cNvSpPr>
          <p:nvPr>
            <p:ph type="pic" sz="quarter" idx="63" hasCustomPrompt="1"/>
          </p:nvPr>
        </p:nvSpPr>
        <p:spPr>
          <a:xfrm>
            <a:off x="7982736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5" name="Picture Placeholder 4">
            <a:extLst>
              <a:ext uri="{FF2B5EF4-FFF2-40B4-BE49-F238E27FC236}">
                <a16:creationId xmlns:a16="http://schemas.microsoft.com/office/drawing/2014/main" id="{1849E96E-9C84-48C8-87E3-58630630DA37}"/>
              </a:ext>
            </a:extLst>
          </p:cNvPr>
          <p:cNvSpPr>
            <a:spLocks noGrp="1"/>
          </p:cNvSpPr>
          <p:nvPr>
            <p:ph type="pic" sz="quarter" idx="64" hasCustomPrompt="1"/>
          </p:nvPr>
        </p:nvSpPr>
        <p:spPr>
          <a:xfrm>
            <a:off x="7982736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6" name="Picture Placeholder 4">
            <a:extLst>
              <a:ext uri="{FF2B5EF4-FFF2-40B4-BE49-F238E27FC236}">
                <a16:creationId xmlns:a16="http://schemas.microsoft.com/office/drawing/2014/main" id="{7AE087A9-86D9-49CB-8CCD-962BBF6512BC}"/>
              </a:ext>
            </a:extLst>
          </p:cNvPr>
          <p:cNvSpPr>
            <a:spLocks noGrp="1"/>
          </p:cNvSpPr>
          <p:nvPr>
            <p:ph type="pic" sz="quarter" idx="65" hasCustomPrompt="1"/>
          </p:nvPr>
        </p:nvSpPr>
        <p:spPr>
          <a:xfrm>
            <a:off x="7982736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89" name="Picture Placeholder 4">
            <a:extLst>
              <a:ext uri="{FF2B5EF4-FFF2-40B4-BE49-F238E27FC236}">
                <a16:creationId xmlns:a16="http://schemas.microsoft.com/office/drawing/2014/main" id="{A8FC3F0F-7B75-43FF-A789-69C563387283}"/>
              </a:ext>
            </a:extLst>
          </p:cNvPr>
          <p:cNvSpPr>
            <a:spLocks noGrp="1"/>
          </p:cNvSpPr>
          <p:nvPr>
            <p:ph type="pic" sz="quarter" idx="68" hasCustomPrompt="1"/>
          </p:nvPr>
        </p:nvSpPr>
        <p:spPr>
          <a:xfrm>
            <a:off x="8885328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0" name="Picture Placeholder 4">
            <a:extLst>
              <a:ext uri="{FF2B5EF4-FFF2-40B4-BE49-F238E27FC236}">
                <a16:creationId xmlns:a16="http://schemas.microsoft.com/office/drawing/2014/main" id="{062AFF2E-54D9-4FFA-BD49-F3E2C3FC8262}"/>
              </a:ext>
            </a:extLst>
          </p:cNvPr>
          <p:cNvSpPr>
            <a:spLocks noGrp="1"/>
          </p:cNvSpPr>
          <p:nvPr>
            <p:ph type="pic" sz="quarter" idx="69" hasCustomPrompt="1"/>
          </p:nvPr>
        </p:nvSpPr>
        <p:spPr>
          <a:xfrm>
            <a:off x="8885328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1" name="Picture Placeholder 4">
            <a:extLst>
              <a:ext uri="{FF2B5EF4-FFF2-40B4-BE49-F238E27FC236}">
                <a16:creationId xmlns:a16="http://schemas.microsoft.com/office/drawing/2014/main" id="{0E47EAB5-D105-4C2C-B503-1B64C0C04FAE}"/>
              </a:ext>
            </a:extLst>
          </p:cNvPr>
          <p:cNvSpPr>
            <a:spLocks noGrp="1"/>
          </p:cNvSpPr>
          <p:nvPr>
            <p:ph type="pic" sz="quarter" idx="70" hasCustomPrompt="1"/>
          </p:nvPr>
        </p:nvSpPr>
        <p:spPr>
          <a:xfrm>
            <a:off x="8885328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4" name="Picture Placeholder 4">
            <a:extLst>
              <a:ext uri="{FF2B5EF4-FFF2-40B4-BE49-F238E27FC236}">
                <a16:creationId xmlns:a16="http://schemas.microsoft.com/office/drawing/2014/main" id="{CBAB67A5-6BC3-485E-AEB9-8B098EEFCA54}"/>
              </a:ext>
            </a:extLst>
          </p:cNvPr>
          <p:cNvSpPr>
            <a:spLocks noGrp="1"/>
          </p:cNvSpPr>
          <p:nvPr>
            <p:ph type="pic" sz="quarter" idx="73" hasCustomPrompt="1"/>
          </p:nvPr>
        </p:nvSpPr>
        <p:spPr>
          <a:xfrm>
            <a:off x="9787920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5" name="Picture Placeholder 4">
            <a:extLst>
              <a:ext uri="{FF2B5EF4-FFF2-40B4-BE49-F238E27FC236}">
                <a16:creationId xmlns:a16="http://schemas.microsoft.com/office/drawing/2014/main" id="{3611B1C7-670C-41F2-81E7-65BD555CB981}"/>
              </a:ext>
            </a:extLst>
          </p:cNvPr>
          <p:cNvSpPr>
            <a:spLocks noGrp="1"/>
          </p:cNvSpPr>
          <p:nvPr>
            <p:ph type="pic" sz="quarter" idx="74" hasCustomPrompt="1"/>
          </p:nvPr>
        </p:nvSpPr>
        <p:spPr>
          <a:xfrm>
            <a:off x="9787920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6" name="Picture Placeholder 4">
            <a:extLst>
              <a:ext uri="{FF2B5EF4-FFF2-40B4-BE49-F238E27FC236}">
                <a16:creationId xmlns:a16="http://schemas.microsoft.com/office/drawing/2014/main" id="{AE9B4E46-1F04-4D33-8882-556E22A36C5D}"/>
              </a:ext>
            </a:extLst>
          </p:cNvPr>
          <p:cNvSpPr>
            <a:spLocks noGrp="1"/>
          </p:cNvSpPr>
          <p:nvPr>
            <p:ph type="pic" sz="quarter" idx="75" hasCustomPrompt="1"/>
          </p:nvPr>
        </p:nvSpPr>
        <p:spPr>
          <a:xfrm>
            <a:off x="9787920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99" name="Picture Placeholder 4">
            <a:extLst>
              <a:ext uri="{FF2B5EF4-FFF2-40B4-BE49-F238E27FC236}">
                <a16:creationId xmlns:a16="http://schemas.microsoft.com/office/drawing/2014/main" id="{134F8BED-70EB-4F3B-9B9A-B398955E1FCE}"/>
              </a:ext>
            </a:extLst>
          </p:cNvPr>
          <p:cNvSpPr>
            <a:spLocks noGrp="1"/>
          </p:cNvSpPr>
          <p:nvPr>
            <p:ph type="pic" sz="quarter" idx="78" hasCustomPrompt="1"/>
          </p:nvPr>
        </p:nvSpPr>
        <p:spPr>
          <a:xfrm>
            <a:off x="10690516" y="34977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100" name="Picture Placeholder 4">
            <a:extLst>
              <a:ext uri="{FF2B5EF4-FFF2-40B4-BE49-F238E27FC236}">
                <a16:creationId xmlns:a16="http://schemas.microsoft.com/office/drawing/2014/main" id="{16EE982E-187C-47A8-973B-C1DB22D18D6A}"/>
              </a:ext>
            </a:extLst>
          </p:cNvPr>
          <p:cNvSpPr>
            <a:spLocks noGrp="1"/>
          </p:cNvSpPr>
          <p:nvPr>
            <p:ph type="pic" sz="quarter" idx="79" hasCustomPrompt="1"/>
          </p:nvPr>
        </p:nvSpPr>
        <p:spPr>
          <a:xfrm>
            <a:off x="10690516" y="4409199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101" name="Picture Placeholder 4">
            <a:extLst>
              <a:ext uri="{FF2B5EF4-FFF2-40B4-BE49-F238E27FC236}">
                <a16:creationId xmlns:a16="http://schemas.microsoft.com/office/drawing/2014/main" id="{DD448810-2686-454F-9654-2EEA3E42B922}"/>
              </a:ext>
            </a:extLst>
          </p:cNvPr>
          <p:cNvSpPr>
            <a:spLocks noGrp="1"/>
          </p:cNvSpPr>
          <p:nvPr>
            <p:ph type="pic" sz="quarter" idx="80" hasCustomPrompt="1"/>
          </p:nvPr>
        </p:nvSpPr>
        <p:spPr>
          <a:xfrm>
            <a:off x="10690516" y="5320600"/>
            <a:ext cx="738000" cy="7380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103" name="Text Placeholder 12">
            <a:extLst>
              <a:ext uri="{FF2B5EF4-FFF2-40B4-BE49-F238E27FC236}">
                <a16:creationId xmlns:a16="http://schemas.microsoft.com/office/drawing/2014/main" id="{F82A335A-69EF-4A0F-BC0A-35B70DD7A7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62000" y="1082674"/>
            <a:ext cx="10668000" cy="409575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>
              <a:defRPr lang="en-US" sz="1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Add Sub-Headlin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142124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2FB597F-EFE8-4893-AABD-C387C0BD5CD5}"/>
              </a:ext>
            </a:extLst>
          </p:cNvPr>
          <p:cNvSpPr/>
          <p:nvPr userDrawn="1"/>
        </p:nvSpPr>
        <p:spPr>
          <a:xfrm>
            <a:off x="8888838" y="0"/>
            <a:ext cx="3303162" cy="6858000"/>
          </a:xfrm>
          <a:prstGeom prst="rect">
            <a:avLst/>
          </a:prstGeo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-1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aphic 32">
            <a:extLst>
              <a:ext uri="{FF2B5EF4-FFF2-40B4-BE49-F238E27FC236}">
                <a16:creationId xmlns:a16="http://schemas.microsoft.com/office/drawing/2014/main" id="{7E3F2A91-3683-4D76-A715-7775B1DEE9C8}"/>
              </a:ext>
            </a:extLst>
          </p:cNvPr>
          <p:cNvGrpSpPr/>
          <p:nvPr userDrawn="1"/>
        </p:nvGrpSpPr>
        <p:grpSpPr>
          <a:xfrm>
            <a:off x="9286875" y="5302952"/>
            <a:ext cx="2507088" cy="1555048"/>
            <a:chOff x="4876800" y="2671762"/>
            <a:chExt cx="2434304" cy="1509903"/>
          </a:xfrm>
          <a:solidFill>
            <a:schemeClr val="bg1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9541CFD-F87C-4F75-957C-3363F6B8EDF5}"/>
                </a:ext>
              </a:extLst>
            </p:cNvPr>
            <p:cNvSpPr/>
            <p:nvPr/>
          </p:nvSpPr>
          <p:spPr>
            <a:xfrm>
              <a:off x="5379362" y="3137582"/>
              <a:ext cx="1414224" cy="824769"/>
            </a:xfrm>
            <a:custGeom>
              <a:avLst/>
              <a:gdLst>
                <a:gd name="connsiteX0" fmla="*/ 1407295 w 1414224"/>
                <a:gd name="connsiteY0" fmla="*/ 423720 h 824769"/>
                <a:gd name="connsiteX1" fmla="*/ 733592 w 1414224"/>
                <a:gd name="connsiteY1" fmla="*/ 817197 h 824769"/>
                <a:gd name="connsiteX2" fmla="*/ 680633 w 1414224"/>
                <a:gd name="connsiteY2" fmla="*/ 817197 h 824769"/>
                <a:gd name="connsiteX3" fmla="*/ 6929 w 1414224"/>
                <a:gd name="connsiteY3" fmla="*/ 423720 h 824769"/>
                <a:gd name="connsiteX4" fmla="*/ 6929 w 1414224"/>
                <a:gd name="connsiteY4" fmla="*/ 400479 h 824769"/>
                <a:gd name="connsiteX5" fmla="*/ 680633 w 1414224"/>
                <a:gd name="connsiteY5" fmla="*/ 7001 h 824769"/>
                <a:gd name="connsiteX6" fmla="*/ 733592 w 1414224"/>
                <a:gd name="connsiteY6" fmla="*/ 7001 h 824769"/>
                <a:gd name="connsiteX7" fmla="*/ 1407295 w 1414224"/>
                <a:gd name="connsiteY7" fmla="*/ 400479 h 824769"/>
                <a:gd name="connsiteX8" fmla="*/ 1407295 w 1414224"/>
                <a:gd name="connsiteY8" fmla="*/ 423720 h 82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4224" h="824769">
                  <a:moveTo>
                    <a:pt x="1407295" y="423720"/>
                  </a:moveTo>
                  <a:lnTo>
                    <a:pt x="733592" y="817197"/>
                  </a:lnTo>
                  <a:cubicBezTo>
                    <a:pt x="717494" y="827294"/>
                    <a:pt x="696730" y="827294"/>
                    <a:pt x="680633" y="817197"/>
                  </a:cubicBezTo>
                  <a:lnTo>
                    <a:pt x="6929" y="423720"/>
                  </a:lnTo>
                  <a:cubicBezTo>
                    <a:pt x="-2310" y="419052"/>
                    <a:pt x="-2310" y="405908"/>
                    <a:pt x="6929" y="400479"/>
                  </a:cubicBezTo>
                  <a:lnTo>
                    <a:pt x="680633" y="7001"/>
                  </a:lnTo>
                  <a:cubicBezTo>
                    <a:pt x="696730" y="-2334"/>
                    <a:pt x="717494" y="-2334"/>
                    <a:pt x="733592" y="7001"/>
                  </a:cubicBezTo>
                  <a:lnTo>
                    <a:pt x="1407295" y="400479"/>
                  </a:lnTo>
                  <a:cubicBezTo>
                    <a:pt x="1416534" y="405908"/>
                    <a:pt x="1416534" y="419052"/>
                    <a:pt x="1407295" y="423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918793D-2E26-4AC2-B31C-F6BD5C2584A2}"/>
                </a:ext>
              </a:extLst>
            </p:cNvPr>
            <p:cNvSpPr/>
            <p:nvPr/>
          </p:nvSpPr>
          <p:spPr>
            <a:xfrm>
              <a:off x="4876800" y="2671762"/>
              <a:ext cx="2434304" cy="1509903"/>
            </a:xfrm>
            <a:custGeom>
              <a:avLst/>
              <a:gdLst>
                <a:gd name="connsiteX0" fmla="*/ 210312 w 2434304"/>
                <a:gd name="connsiteY0" fmla="*/ 821722 h 1509903"/>
                <a:gd name="connsiteX1" fmla="*/ 1217581 w 2434304"/>
                <a:gd name="connsiteY1" fmla="*/ 242316 h 1509903"/>
                <a:gd name="connsiteX2" fmla="*/ 2223992 w 2434304"/>
                <a:gd name="connsiteY2" fmla="*/ 821722 h 1509903"/>
                <a:gd name="connsiteX3" fmla="*/ 2223992 w 2434304"/>
                <a:gd name="connsiteY3" fmla="*/ 1509903 h 1509903"/>
                <a:gd name="connsiteX4" fmla="*/ 2434304 w 2434304"/>
                <a:gd name="connsiteY4" fmla="*/ 1509903 h 1509903"/>
                <a:gd name="connsiteX5" fmla="*/ 2434304 w 2434304"/>
                <a:gd name="connsiteY5" fmla="*/ 700659 h 1509903"/>
                <a:gd name="connsiteX6" fmla="*/ 1217581 w 2434304"/>
                <a:gd name="connsiteY6" fmla="*/ 0 h 1509903"/>
                <a:gd name="connsiteX7" fmla="*/ 0 w 2434304"/>
                <a:gd name="connsiteY7" fmla="*/ 700659 h 1509903"/>
                <a:gd name="connsiteX8" fmla="*/ 0 w 2434304"/>
                <a:gd name="connsiteY8" fmla="*/ 1509903 h 1509903"/>
                <a:gd name="connsiteX9" fmla="*/ 210312 w 2434304"/>
                <a:gd name="connsiteY9" fmla="*/ 1509903 h 1509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4304" h="1509903">
                  <a:moveTo>
                    <a:pt x="210312" y="821722"/>
                  </a:moveTo>
                  <a:lnTo>
                    <a:pt x="1217581" y="242316"/>
                  </a:lnTo>
                  <a:lnTo>
                    <a:pt x="2223992" y="821722"/>
                  </a:lnTo>
                  <a:lnTo>
                    <a:pt x="2223992" y="1509903"/>
                  </a:lnTo>
                  <a:lnTo>
                    <a:pt x="2434304" y="1509903"/>
                  </a:lnTo>
                  <a:lnTo>
                    <a:pt x="2434304" y="700659"/>
                  </a:lnTo>
                  <a:lnTo>
                    <a:pt x="1217581" y="0"/>
                  </a:lnTo>
                  <a:lnTo>
                    <a:pt x="0" y="700659"/>
                  </a:lnTo>
                  <a:lnTo>
                    <a:pt x="0" y="1509903"/>
                  </a:lnTo>
                  <a:lnTo>
                    <a:pt x="210312" y="15099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8F65064-C861-45F7-ABA5-637165C841FD}"/>
                </a:ext>
              </a:extLst>
            </p:cNvPr>
            <p:cNvSpPr/>
            <p:nvPr/>
          </p:nvSpPr>
          <p:spPr>
            <a:xfrm>
              <a:off x="5272563" y="3673351"/>
              <a:ext cx="739235" cy="508313"/>
            </a:xfrm>
            <a:custGeom>
              <a:avLst/>
              <a:gdLst>
                <a:gd name="connsiteX0" fmla="*/ 739235 w 739235"/>
                <a:gd name="connsiteY0" fmla="*/ 444305 h 508313"/>
                <a:gd name="connsiteX1" fmla="*/ 718661 w 739235"/>
                <a:gd name="connsiteY1" fmla="*/ 408872 h 508313"/>
                <a:gd name="connsiteX2" fmla="*/ 19812 w 739235"/>
                <a:gd name="connsiteY2" fmla="*/ 1583 h 508313"/>
                <a:gd name="connsiteX3" fmla="*/ 0 w 739235"/>
                <a:gd name="connsiteY3" fmla="*/ 13108 h 508313"/>
                <a:gd name="connsiteX4" fmla="*/ 0 w 739235"/>
                <a:gd name="connsiteY4" fmla="*/ 508313 h 508313"/>
                <a:gd name="connsiteX5" fmla="*/ 739235 w 739235"/>
                <a:gd name="connsiteY5" fmla="*/ 508313 h 508313"/>
                <a:gd name="connsiteX6" fmla="*/ 739235 w 739235"/>
                <a:gd name="connsiteY6" fmla="*/ 444305 h 50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9235" h="508313">
                  <a:moveTo>
                    <a:pt x="739235" y="444305"/>
                  </a:moveTo>
                  <a:cubicBezTo>
                    <a:pt x="739235" y="429637"/>
                    <a:pt x="731615" y="416587"/>
                    <a:pt x="718661" y="408872"/>
                  </a:cubicBezTo>
                  <a:lnTo>
                    <a:pt x="19812" y="1583"/>
                  </a:lnTo>
                  <a:cubicBezTo>
                    <a:pt x="10668" y="-3084"/>
                    <a:pt x="0" y="3107"/>
                    <a:pt x="0" y="13108"/>
                  </a:cubicBezTo>
                  <a:lnTo>
                    <a:pt x="0" y="508313"/>
                  </a:lnTo>
                  <a:lnTo>
                    <a:pt x="739235" y="508313"/>
                  </a:lnTo>
                  <a:lnTo>
                    <a:pt x="739235" y="4443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4496369-AA90-4599-B8A9-B239786B1F3C}"/>
                </a:ext>
              </a:extLst>
            </p:cNvPr>
            <p:cNvSpPr/>
            <p:nvPr/>
          </p:nvSpPr>
          <p:spPr>
            <a:xfrm>
              <a:off x="5379362" y="3137582"/>
              <a:ext cx="1414224" cy="824769"/>
            </a:xfrm>
            <a:custGeom>
              <a:avLst/>
              <a:gdLst>
                <a:gd name="connsiteX0" fmla="*/ 1407295 w 1414224"/>
                <a:gd name="connsiteY0" fmla="*/ 400479 h 824769"/>
                <a:gd name="connsiteX1" fmla="*/ 733592 w 1414224"/>
                <a:gd name="connsiteY1" fmla="*/ 7001 h 824769"/>
                <a:gd name="connsiteX2" fmla="*/ 680633 w 1414224"/>
                <a:gd name="connsiteY2" fmla="*/ 7001 h 824769"/>
                <a:gd name="connsiteX3" fmla="*/ 6929 w 1414224"/>
                <a:gd name="connsiteY3" fmla="*/ 400479 h 824769"/>
                <a:gd name="connsiteX4" fmla="*/ 6929 w 1414224"/>
                <a:gd name="connsiteY4" fmla="*/ 423720 h 824769"/>
                <a:gd name="connsiteX5" fmla="*/ 680633 w 1414224"/>
                <a:gd name="connsiteY5" fmla="*/ 817197 h 824769"/>
                <a:gd name="connsiteX6" fmla="*/ 733592 w 1414224"/>
                <a:gd name="connsiteY6" fmla="*/ 817197 h 824769"/>
                <a:gd name="connsiteX7" fmla="*/ 1407295 w 1414224"/>
                <a:gd name="connsiteY7" fmla="*/ 423720 h 824769"/>
                <a:gd name="connsiteX8" fmla="*/ 1407295 w 1414224"/>
                <a:gd name="connsiteY8" fmla="*/ 400479 h 82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4224" h="824769">
                  <a:moveTo>
                    <a:pt x="1407295" y="400479"/>
                  </a:moveTo>
                  <a:lnTo>
                    <a:pt x="733592" y="7001"/>
                  </a:lnTo>
                  <a:cubicBezTo>
                    <a:pt x="717494" y="-2334"/>
                    <a:pt x="696730" y="-2334"/>
                    <a:pt x="680633" y="7001"/>
                  </a:cubicBezTo>
                  <a:lnTo>
                    <a:pt x="6929" y="400479"/>
                  </a:lnTo>
                  <a:cubicBezTo>
                    <a:pt x="-2310" y="405908"/>
                    <a:pt x="-2310" y="419148"/>
                    <a:pt x="6929" y="423720"/>
                  </a:cubicBezTo>
                  <a:lnTo>
                    <a:pt x="680633" y="817197"/>
                  </a:lnTo>
                  <a:cubicBezTo>
                    <a:pt x="696730" y="827294"/>
                    <a:pt x="717494" y="827294"/>
                    <a:pt x="733592" y="817197"/>
                  </a:cubicBezTo>
                  <a:lnTo>
                    <a:pt x="1407295" y="423720"/>
                  </a:lnTo>
                  <a:cubicBezTo>
                    <a:pt x="1416534" y="419052"/>
                    <a:pt x="1416534" y="405908"/>
                    <a:pt x="1407295" y="4004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4891A88C-BC1C-4B82-A5F8-49DB6422798D}"/>
              </a:ext>
            </a:extLst>
          </p:cNvPr>
          <p:cNvSpPr/>
          <p:nvPr userDrawn="1"/>
        </p:nvSpPr>
        <p:spPr>
          <a:xfrm rot="10800000">
            <a:off x="8719804" y="1335009"/>
            <a:ext cx="3472195" cy="393704"/>
          </a:xfrm>
          <a:prstGeom prst="rtTriangle">
            <a:avLst/>
          </a:prstGeom>
          <a:gradFill flip="none" rotWithShape="1">
            <a:gsLst>
              <a:gs pos="100000">
                <a:schemeClr val="tx2">
                  <a:alpha val="25000"/>
                </a:schemeClr>
              </a:gs>
              <a:gs pos="0">
                <a:schemeClr val="tx2">
                  <a:alpha val="0"/>
                </a:schemeClr>
              </a:gs>
            </a:gsLst>
            <a:lin ang="0" scaled="1"/>
            <a:tileRect/>
          </a:gradFill>
          <a:ln w="3175"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113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550ADCBF-D36A-4CB8-AA1F-CA23ED1DFD33}"/>
              </a:ext>
            </a:extLst>
          </p:cNvPr>
          <p:cNvSpPr/>
          <p:nvPr userDrawn="1"/>
        </p:nvSpPr>
        <p:spPr>
          <a:xfrm rot="16200000">
            <a:off x="10194985" y="-555687"/>
            <a:ext cx="641231" cy="3352801"/>
          </a:xfrm>
          <a:prstGeom prst="round2SameRect">
            <a:avLst>
              <a:gd name="adj1" fmla="val 9065"/>
              <a:gd name="adj2" fmla="val 0"/>
            </a:avLst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-1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FFB9A70-5BFA-44AB-8175-D7E382348347}"/>
              </a:ext>
            </a:extLst>
          </p:cNvPr>
          <p:cNvCxnSpPr/>
          <p:nvPr userDrawn="1"/>
        </p:nvCxnSpPr>
        <p:spPr>
          <a:xfrm>
            <a:off x="3372337" y="2235200"/>
            <a:ext cx="0" cy="38608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9BA033-9CE1-432A-852C-FE2DF055B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15190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9BA033-9CE1-432A-852C-FE2DF055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AFD981-CD66-4113-A2C1-013E9E1A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DEE702-7A6E-41DE-B00C-5DD026BC461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62000" y="820395"/>
            <a:ext cx="7962900" cy="62093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/>
              <a:t>Click To Add Headline – 2 Lines Max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7988B74-1DD3-4D45-8CE0-FD7CEA48FF6F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61998" y="2533650"/>
            <a:ext cx="2502467" cy="3562349"/>
          </a:xfrm>
        </p:spPr>
        <p:txBody>
          <a:bodyPr/>
          <a:lstStyle>
            <a:lvl1pPr marL="171450" indent="-171450">
              <a:buSzPct val="100000"/>
              <a:buFont typeface="Arial" panose="020B0604020202020204" pitchFamily="34" charset="0"/>
              <a:buChar char="•"/>
              <a:defRPr sz="1200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Insert challenge text her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59072087-5F4C-4A15-A6BA-645389BB8C01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480209" y="2533651"/>
            <a:ext cx="5213775" cy="2649268"/>
          </a:xfrm>
        </p:spPr>
        <p:txBody>
          <a:bodyPr/>
          <a:lstStyle>
            <a:lvl1pPr marL="171450" indent="-171450">
              <a:buSzPct val="100000"/>
              <a:buFont typeface="Arial" panose="020B0604020202020204" pitchFamily="34" charset="0"/>
              <a:buChar char="•"/>
              <a:defRPr sz="1200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Insert solution text here</a:t>
            </a:r>
            <a:endParaRPr lang="en-GB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B9956D3-4BEA-4666-896E-DB87A75AC459}"/>
              </a:ext>
            </a:extLst>
          </p:cNvPr>
          <p:cNvSpPr txBox="1"/>
          <p:nvPr userDrawn="1"/>
        </p:nvSpPr>
        <p:spPr>
          <a:xfrm>
            <a:off x="761998" y="2232025"/>
            <a:ext cx="2295261" cy="177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lle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F62535E-AB1D-4CCD-8FD0-77076157144D}"/>
              </a:ext>
            </a:extLst>
          </p:cNvPr>
          <p:cNvSpPr txBox="1"/>
          <p:nvPr userDrawn="1"/>
        </p:nvSpPr>
        <p:spPr>
          <a:xfrm>
            <a:off x="3480209" y="2232025"/>
            <a:ext cx="2295261" cy="177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</a:t>
            </a:r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96B2D3A6-1650-4D26-A5B7-8C6ECB92D758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9587706" y="821581"/>
            <a:ext cx="1893192" cy="59826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ase Study Logo</a:t>
            </a:r>
          </a:p>
        </p:txBody>
      </p:sp>
      <p:sp>
        <p:nvSpPr>
          <p:cNvPr id="41" name="Text Placeholder 39">
            <a:extLst>
              <a:ext uri="{FF2B5EF4-FFF2-40B4-BE49-F238E27FC236}">
                <a16:creationId xmlns:a16="http://schemas.microsoft.com/office/drawing/2014/main" id="{D0429B46-1B83-403A-A990-E4EE40EB6D6C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9133777" y="2232025"/>
            <a:ext cx="2801047" cy="3292475"/>
          </a:xfrm>
        </p:spPr>
        <p:txBody>
          <a:bodyPr anchor="t"/>
          <a:lstStyle>
            <a:lvl1pPr algn="ctr">
              <a:spcAft>
                <a:spcPts val="0"/>
              </a:spcAft>
              <a:defRPr sz="1400" b="1">
                <a:solidFill>
                  <a:schemeClr val="accent1"/>
                </a:solidFill>
              </a:defRPr>
            </a:lvl1pPr>
            <a:lvl2pPr marL="90487" indent="0" algn="ctr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GB"/>
              <a:t>Outcome 1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 2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 3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 4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 5</a:t>
            </a:r>
          </a:p>
          <a:p>
            <a:pPr lvl="1"/>
            <a:r>
              <a:rPr lang="en-GB"/>
              <a:t>Outcome details</a:t>
            </a:r>
          </a:p>
        </p:txBody>
      </p:sp>
      <p:sp>
        <p:nvSpPr>
          <p:cNvPr id="44" name="Text Placeholder 39">
            <a:extLst>
              <a:ext uri="{FF2B5EF4-FFF2-40B4-BE49-F238E27FC236}">
                <a16:creationId xmlns:a16="http://schemas.microsoft.com/office/drawing/2014/main" id="{50F5356C-CB53-4CEA-85EF-AAD7F9494151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761998" y="1527432"/>
            <a:ext cx="7962893" cy="62366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GB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GB"/>
              <a:t>Click To Add Sub-Headline – 3 Lines Ma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87A9BF-C4FB-4D77-ABE9-1D710BF9D890}"/>
              </a:ext>
            </a:extLst>
          </p:cNvPr>
          <p:cNvSpPr txBox="1"/>
          <p:nvPr userDrawn="1"/>
        </p:nvSpPr>
        <p:spPr>
          <a:xfrm>
            <a:off x="756905" y="507999"/>
            <a:ext cx="1637952" cy="25400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None/>
              <a:tabLst>
                <a:tab pos="442913" algn="l"/>
              </a:tabLst>
              <a:defRPr lang="en-US" sz="1400" b="1" spc="0" baseline="0" dirty="0">
                <a:solidFill>
                  <a:schemeClr val="tx2"/>
                </a:solidFill>
                <a:latin typeface="+mj-lt"/>
              </a:defRPr>
            </a:lvl1pPr>
            <a:lvl2pPr marL="266700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tabLst>
                <a:tab pos="442913" algn="l"/>
              </a:tabLst>
              <a:defRPr lang="en-US" sz="1400" b="0" spc="0" baseline="0" dirty="0">
                <a:solidFill>
                  <a:schemeClr val="tx2"/>
                </a:solidFill>
              </a:defRPr>
            </a:lvl2pPr>
            <a:lvl3pPr marL="266700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panose="020B0604020202020204" pitchFamily="34" charset="0"/>
              <a:buChar char="•"/>
              <a:tabLst>
                <a:tab pos="442913" algn="l"/>
              </a:tabLst>
              <a:defRPr sz="1400" b="0" spc="0" baseline="0">
                <a:solidFill>
                  <a:schemeClr val="tx2"/>
                </a:solidFill>
              </a:defRPr>
            </a:lvl3pPr>
            <a:lvl4pPr marL="358775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panose="020B0604020202020204" pitchFamily="34" charset="0"/>
              <a:buChar char="•"/>
              <a:tabLst>
                <a:tab pos="447675" algn="l"/>
              </a:tabLst>
              <a:defRPr sz="1200" b="0" spc="0" baseline="0">
                <a:solidFill>
                  <a:schemeClr val="tx2"/>
                </a:solidFill>
              </a:defRPr>
            </a:lvl4pPr>
            <a:lvl5pPr marL="449263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200" b="0" spc="0" baseline="0">
                <a:solidFill>
                  <a:schemeClr val="tx2"/>
                </a:solidFill>
              </a:defRPr>
            </a:lvl5pPr>
            <a:lvl6pPr marL="541338" indent="-1841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lang="en-US" sz="1050" b="0" dirty="0">
                <a:solidFill>
                  <a:schemeClr val="tx2"/>
                </a:solidFill>
              </a:defRPr>
            </a:lvl6pPr>
            <a:lvl7pPr marL="625475" indent="-177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050">
                <a:solidFill>
                  <a:schemeClr val="tx2"/>
                </a:solidFill>
              </a:defRPr>
            </a:lvl7pPr>
            <a:lvl8pPr marL="804863" indent="-2667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800">
                <a:solidFill>
                  <a:schemeClr val="tx2"/>
                </a:solidFill>
              </a:defRPr>
            </a:lvl8pPr>
            <a:lvl9pPr marL="62865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000">
                <a:solidFill>
                  <a:schemeClr val="tx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74CB"/>
              </a:buClr>
              <a:buSzPct val="125000"/>
              <a:buFont typeface="Arial" panose="020B0604020202020204" pitchFamily="34" charset="0"/>
              <a:buNone/>
              <a:tabLst>
                <a:tab pos="442913" algn="l"/>
              </a:tabLst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3F74C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F7FC877C-6411-4739-81C2-789873BBB12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260900" y="1546076"/>
            <a:ext cx="546800" cy="5468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F9625A5-451C-491D-8EDE-9E3C06EFB1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39896" y="506401"/>
            <a:ext cx="2801047" cy="255600"/>
          </a:xfrm>
        </p:spPr>
        <p:txBody>
          <a:bodyPr anchor="t"/>
          <a:lstStyle>
            <a:lvl1pPr algn="ctr"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Industry | Country/Region</a:t>
            </a:r>
          </a:p>
        </p:txBody>
      </p:sp>
      <p:sp>
        <p:nvSpPr>
          <p:cNvPr id="17" name="Footer Placeholder 16">
            <a:extLst>
              <a:ext uri="{FF2B5EF4-FFF2-40B4-BE49-F238E27FC236}">
                <a16:creationId xmlns:a16="http://schemas.microsoft.com/office/drawing/2014/main" id="{D548E31B-EC8A-453E-96C0-F9D30AE8EBBF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5838825" y="6296594"/>
            <a:ext cx="2584450" cy="23457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pyright © 2021 Commvault  |  All Rights Reserved</a:t>
            </a:r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34DEE4FE-66B0-4660-B983-B58CB08F2BA0}"/>
              </a:ext>
            </a:extLst>
          </p:cNvPr>
          <p:cNvSpPr>
            <a:spLocks noGrp="1"/>
          </p:cNvSpPr>
          <p:nvPr>
            <p:ph type="sldNum" sz="quarter" idx="28"/>
          </p:nvPr>
        </p:nvSpPr>
        <p:spPr>
          <a:xfrm>
            <a:off x="8451014" y="6296594"/>
            <a:ext cx="273886" cy="23457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9312C1-3195-436A-A3DD-34CF0292CB2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48B4950-C45A-46B2-B4B2-CFF39BD3B2B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80208" y="5302952"/>
            <a:ext cx="5239596" cy="793047"/>
          </a:xfr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>
            <a:lvl1pPr>
              <a:defRPr lang="en-US" b="1" spc="-10" smtClean="0">
                <a:solidFill>
                  <a:schemeClr val="accent1"/>
                </a:solidFill>
              </a:defRPr>
            </a:lvl1pPr>
            <a:lvl2pPr>
              <a:defRPr lang="en-US" sz="1050" b="1" spc="-10" smtClean="0">
                <a:solidFill>
                  <a:schemeClr val="tx2"/>
                </a:solidFill>
              </a:defRPr>
            </a:lvl2pPr>
            <a:lvl3pPr marL="647700" indent="0">
              <a:buNone/>
              <a:defRPr lang="en-US" sz="1800" smtClean="0"/>
            </a:lvl3pPr>
            <a:lvl4pPr>
              <a:defRPr lang="en-US" sz="1800" smtClean="0"/>
            </a:lvl4pPr>
            <a:lvl5pPr>
              <a:defRPr lang="en-GB" sz="1800"/>
            </a:lvl5pPr>
          </a:lstStyle>
          <a:p>
            <a:pPr marR="0" lvl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1C4C972-3152-4B33-87A8-1DF2FD8909E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3925" y="5362572"/>
            <a:ext cx="5012162" cy="48577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Please insert quote with quote marks here. 2 lines max</a:t>
            </a:r>
            <a:endParaRPr lang="en-IN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B55B0242-2736-4BF9-9CDA-151E5632D36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93925" y="5881178"/>
            <a:ext cx="5012162" cy="172833"/>
          </a:xfrm>
        </p:spPr>
        <p:txBody>
          <a:bodyPr anchor="ctr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| and Company</a:t>
            </a:r>
            <a:endParaRPr lang="en-IN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96D37560-EFF0-4CDB-AE89-2868732FE486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67800" y="5689600"/>
            <a:ext cx="3124200" cy="406400"/>
          </a:xfrm>
          <a:solidFill>
            <a:schemeClr val="accent1"/>
          </a:solidFill>
        </p:spPr>
        <p:txBody>
          <a:bodyPr lIns="180000" tIns="180000" rIns="180000" bIns="180000" anchor="ctr"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Get the full story &gt;</a:t>
            </a:r>
            <a:endParaRPr lang="en-IN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4462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 -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" name="Group 4">
            <a:extLst>
              <a:ext uri="{FF2B5EF4-FFF2-40B4-BE49-F238E27FC236}">
                <a16:creationId xmlns:a16="http://schemas.microsoft.com/office/drawing/2014/main" id="{2F02ED6B-FF85-4689-B7AA-0138C83956D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952251" y="4285890"/>
            <a:ext cx="1772650" cy="1810110"/>
            <a:chOff x="3175" y="1481"/>
            <a:chExt cx="1325" cy="1353"/>
          </a:xfrm>
          <a:solidFill>
            <a:schemeClr val="bg2"/>
          </a:solidFill>
        </p:grpSpPr>
        <p:sp>
          <p:nvSpPr>
            <p:cNvPr id="106" name="Freeform 5">
              <a:extLst>
                <a:ext uri="{FF2B5EF4-FFF2-40B4-BE49-F238E27FC236}">
                  <a16:creationId xmlns:a16="http://schemas.microsoft.com/office/drawing/2014/main" id="{9007F272-66D8-4EAB-8F6C-1042134450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6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113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6">
              <a:extLst>
                <a:ext uri="{FF2B5EF4-FFF2-40B4-BE49-F238E27FC236}">
                  <a16:creationId xmlns:a16="http://schemas.microsoft.com/office/drawing/2014/main" id="{EF6BA9FD-EC69-403A-AE5A-A2E5B69A9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75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113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1" name="Group 4">
            <a:extLst>
              <a:ext uri="{FF2B5EF4-FFF2-40B4-BE49-F238E27FC236}">
                <a16:creationId xmlns:a16="http://schemas.microsoft.com/office/drawing/2014/main" id="{1CB4F513-8D19-4449-A4A8-9B46E1EDEB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10800000">
            <a:off x="760266" y="524254"/>
            <a:ext cx="702449" cy="717293"/>
            <a:chOff x="3175" y="1481"/>
            <a:chExt cx="1325" cy="1353"/>
          </a:xfrm>
          <a:solidFill>
            <a:schemeClr val="bg2"/>
          </a:solidFill>
        </p:grpSpPr>
        <p:sp>
          <p:nvSpPr>
            <p:cNvPr id="112" name="Freeform 5">
              <a:extLst>
                <a:ext uri="{FF2B5EF4-FFF2-40B4-BE49-F238E27FC236}">
                  <a16:creationId xmlns:a16="http://schemas.microsoft.com/office/drawing/2014/main" id="{5D0423DF-A236-4170-AAE3-DC554F7F97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6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113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6">
              <a:extLst>
                <a:ext uri="{FF2B5EF4-FFF2-40B4-BE49-F238E27FC236}">
                  <a16:creationId xmlns:a16="http://schemas.microsoft.com/office/drawing/2014/main" id="{77FF2407-D9DD-4EAC-8188-4A57542F04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75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113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E0510FF8-2DF9-437E-B35B-4918304CD5B0}"/>
              </a:ext>
            </a:extLst>
          </p:cNvPr>
          <p:cNvSpPr/>
          <p:nvPr userDrawn="1"/>
        </p:nvSpPr>
        <p:spPr>
          <a:xfrm>
            <a:off x="8888838" y="0"/>
            <a:ext cx="3303162" cy="6858000"/>
          </a:xfrm>
          <a:prstGeom prst="rect">
            <a:avLst/>
          </a:prstGeo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-1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9" name="Graphic 32">
            <a:extLst>
              <a:ext uri="{FF2B5EF4-FFF2-40B4-BE49-F238E27FC236}">
                <a16:creationId xmlns:a16="http://schemas.microsoft.com/office/drawing/2014/main" id="{A0598853-666D-4A13-A606-ACE4A9AD7971}"/>
              </a:ext>
            </a:extLst>
          </p:cNvPr>
          <p:cNvGrpSpPr/>
          <p:nvPr userDrawn="1"/>
        </p:nvGrpSpPr>
        <p:grpSpPr>
          <a:xfrm>
            <a:off x="9286875" y="5302952"/>
            <a:ext cx="2507088" cy="1555048"/>
            <a:chOff x="4876800" y="2671762"/>
            <a:chExt cx="2434304" cy="1509903"/>
          </a:xfrm>
          <a:solidFill>
            <a:schemeClr val="bg1"/>
          </a:solidFill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FEC5157-CFA7-4573-89B5-FBBA78E565F7}"/>
                </a:ext>
              </a:extLst>
            </p:cNvPr>
            <p:cNvSpPr/>
            <p:nvPr/>
          </p:nvSpPr>
          <p:spPr>
            <a:xfrm>
              <a:off x="5379362" y="3137582"/>
              <a:ext cx="1414224" cy="824769"/>
            </a:xfrm>
            <a:custGeom>
              <a:avLst/>
              <a:gdLst>
                <a:gd name="connsiteX0" fmla="*/ 1407295 w 1414224"/>
                <a:gd name="connsiteY0" fmla="*/ 423720 h 824769"/>
                <a:gd name="connsiteX1" fmla="*/ 733592 w 1414224"/>
                <a:gd name="connsiteY1" fmla="*/ 817197 h 824769"/>
                <a:gd name="connsiteX2" fmla="*/ 680633 w 1414224"/>
                <a:gd name="connsiteY2" fmla="*/ 817197 h 824769"/>
                <a:gd name="connsiteX3" fmla="*/ 6929 w 1414224"/>
                <a:gd name="connsiteY3" fmla="*/ 423720 h 824769"/>
                <a:gd name="connsiteX4" fmla="*/ 6929 w 1414224"/>
                <a:gd name="connsiteY4" fmla="*/ 400479 h 824769"/>
                <a:gd name="connsiteX5" fmla="*/ 680633 w 1414224"/>
                <a:gd name="connsiteY5" fmla="*/ 7001 h 824769"/>
                <a:gd name="connsiteX6" fmla="*/ 733592 w 1414224"/>
                <a:gd name="connsiteY6" fmla="*/ 7001 h 824769"/>
                <a:gd name="connsiteX7" fmla="*/ 1407295 w 1414224"/>
                <a:gd name="connsiteY7" fmla="*/ 400479 h 824769"/>
                <a:gd name="connsiteX8" fmla="*/ 1407295 w 1414224"/>
                <a:gd name="connsiteY8" fmla="*/ 423720 h 82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4224" h="824769">
                  <a:moveTo>
                    <a:pt x="1407295" y="423720"/>
                  </a:moveTo>
                  <a:lnTo>
                    <a:pt x="733592" y="817197"/>
                  </a:lnTo>
                  <a:cubicBezTo>
                    <a:pt x="717494" y="827294"/>
                    <a:pt x="696730" y="827294"/>
                    <a:pt x="680633" y="817197"/>
                  </a:cubicBezTo>
                  <a:lnTo>
                    <a:pt x="6929" y="423720"/>
                  </a:lnTo>
                  <a:cubicBezTo>
                    <a:pt x="-2310" y="419052"/>
                    <a:pt x="-2310" y="405908"/>
                    <a:pt x="6929" y="400479"/>
                  </a:cubicBezTo>
                  <a:lnTo>
                    <a:pt x="680633" y="7001"/>
                  </a:lnTo>
                  <a:cubicBezTo>
                    <a:pt x="696730" y="-2334"/>
                    <a:pt x="717494" y="-2334"/>
                    <a:pt x="733592" y="7001"/>
                  </a:cubicBezTo>
                  <a:lnTo>
                    <a:pt x="1407295" y="400479"/>
                  </a:lnTo>
                  <a:cubicBezTo>
                    <a:pt x="1416534" y="405908"/>
                    <a:pt x="1416534" y="419052"/>
                    <a:pt x="1407295" y="423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93186C48-1EC3-426E-8684-50A21C433E77}"/>
                </a:ext>
              </a:extLst>
            </p:cNvPr>
            <p:cNvSpPr/>
            <p:nvPr/>
          </p:nvSpPr>
          <p:spPr>
            <a:xfrm>
              <a:off x="4876800" y="2671762"/>
              <a:ext cx="2434304" cy="1509903"/>
            </a:xfrm>
            <a:custGeom>
              <a:avLst/>
              <a:gdLst>
                <a:gd name="connsiteX0" fmla="*/ 210312 w 2434304"/>
                <a:gd name="connsiteY0" fmla="*/ 821722 h 1509903"/>
                <a:gd name="connsiteX1" fmla="*/ 1217581 w 2434304"/>
                <a:gd name="connsiteY1" fmla="*/ 242316 h 1509903"/>
                <a:gd name="connsiteX2" fmla="*/ 2223992 w 2434304"/>
                <a:gd name="connsiteY2" fmla="*/ 821722 h 1509903"/>
                <a:gd name="connsiteX3" fmla="*/ 2223992 w 2434304"/>
                <a:gd name="connsiteY3" fmla="*/ 1509903 h 1509903"/>
                <a:gd name="connsiteX4" fmla="*/ 2434304 w 2434304"/>
                <a:gd name="connsiteY4" fmla="*/ 1509903 h 1509903"/>
                <a:gd name="connsiteX5" fmla="*/ 2434304 w 2434304"/>
                <a:gd name="connsiteY5" fmla="*/ 700659 h 1509903"/>
                <a:gd name="connsiteX6" fmla="*/ 1217581 w 2434304"/>
                <a:gd name="connsiteY6" fmla="*/ 0 h 1509903"/>
                <a:gd name="connsiteX7" fmla="*/ 0 w 2434304"/>
                <a:gd name="connsiteY7" fmla="*/ 700659 h 1509903"/>
                <a:gd name="connsiteX8" fmla="*/ 0 w 2434304"/>
                <a:gd name="connsiteY8" fmla="*/ 1509903 h 1509903"/>
                <a:gd name="connsiteX9" fmla="*/ 210312 w 2434304"/>
                <a:gd name="connsiteY9" fmla="*/ 1509903 h 1509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4304" h="1509903">
                  <a:moveTo>
                    <a:pt x="210312" y="821722"/>
                  </a:moveTo>
                  <a:lnTo>
                    <a:pt x="1217581" y="242316"/>
                  </a:lnTo>
                  <a:lnTo>
                    <a:pt x="2223992" y="821722"/>
                  </a:lnTo>
                  <a:lnTo>
                    <a:pt x="2223992" y="1509903"/>
                  </a:lnTo>
                  <a:lnTo>
                    <a:pt x="2434304" y="1509903"/>
                  </a:lnTo>
                  <a:lnTo>
                    <a:pt x="2434304" y="700659"/>
                  </a:lnTo>
                  <a:lnTo>
                    <a:pt x="1217581" y="0"/>
                  </a:lnTo>
                  <a:lnTo>
                    <a:pt x="0" y="700659"/>
                  </a:lnTo>
                  <a:lnTo>
                    <a:pt x="0" y="1509903"/>
                  </a:lnTo>
                  <a:lnTo>
                    <a:pt x="210312" y="15099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DFBAC83A-CE49-4638-8C5B-4D386A1923AC}"/>
                </a:ext>
              </a:extLst>
            </p:cNvPr>
            <p:cNvSpPr/>
            <p:nvPr/>
          </p:nvSpPr>
          <p:spPr>
            <a:xfrm>
              <a:off x="5272563" y="3673351"/>
              <a:ext cx="739235" cy="508313"/>
            </a:xfrm>
            <a:custGeom>
              <a:avLst/>
              <a:gdLst>
                <a:gd name="connsiteX0" fmla="*/ 739235 w 739235"/>
                <a:gd name="connsiteY0" fmla="*/ 444305 h 508313"/>
                <a:gd name="connsiteX1" fmla="*/ 718661 w 739235"/>
                <a:gd name="connsiteY1" fmla="*/ 408872 h 508313"/>
                <a:gd name="connsiteX2" fmla="*/ 19812 w 739235"/>
                <a:gd name="connsiteY2" fmla="*/ 1583 h 508313"/>
                <a:gd name="connsiteX3" fmla="*/ 0 w 739235"/>
                <a:gd name="connsiteY3" fmla="*/ 13108 h 508313"/>
                <a:gd name="connsiteX4" fmla="*/ 0 w 739235"/>
                <a:gd name="connsiteY4" fmla="*/ 508313 h 508313"/>
                <a:gd name="connsiteX5" fmla="*/ 739235 w 739235"/>
                <a:gd name="connsiteY5" fmla="*/ 508313 h 508313"/>
                <a:gd name="connsiteX6" fmla="*/ 739235 w 739235"/>
                <a:gd name="connsiteY6" fmla="*/ 444305 h 50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9235" h="508313">
                  <a:moveTo>
                    <a:pt x="739235" y="444305"/>
                  </a:moveTo>
                  <a:cubicBezTo>
                    <a:pt x="739235" y="429637"/>
                    <a:pt x="731615" y="416587"/>
                    <a:pt x="718661" y="408872"/>
                  </a:cubicBezTo>
                  <a:lnTo>
                    <a:pt x="19812" y="1583"/>
                  </a:lnTo>
                  <a:cubicBezTo>
                    <a:pt x="10668" y="-3084"/>
                    <a:pt x="0" y="3107"/>
                    <a:pt x="0" y="13108"/>
                  </a:cubicBezTo>
                  <a:lnTo>
                    <a:pt x="0" y="508313"/>
                  </a:lnTo>
                  <a:lnTo>
                    <a:pt x="739235" y="508313"/>
                  </a:lnTo>
                  <a:lnTo>
                    <a:pt x="739235" y="4443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1974F1B5-D755-453A-8D76-76A81FBBFA45}"/>
                </a:ext>
              </a:extLst>
            </p:cNvPr>
            <p:cNvSpPr/>
            <p:nvPr/>
          </p:nvSpPr>
          <p:spPr>
            <a:xfrm>
              <a:off x="5379362" y="3137582"/>
              <a:ext cx="1414224" cy="824769"/>
            </a:xfrm>
            <a:custGeom>
              <a:avLst/>
              <a:gdLst>
                <a:gd name="connsiteX0" fmla="*/ 1407295 w 1414224"/>
                <a:gd name="connsiteY0" fmla="*/ 400479 h 824769"/>
                <a:gd name="connsiteX1" fmla="*/ 733592 w 1414224"/>
                <a:gd name="connsiteY1" fmla="*/ 7001 h 824769"/>
                <a:gd name="connsiteX2" fmla="*/ 680633 w 1414224"/>
                <a:gd name="connsiteY2" fmla="*/ 7001 h 824769"/>
                <a:gd name="connsiteX3" fmla="*/ 6929 w 1414224"/>
                <a:gd name="connsiteY3" fmla="*/ 400479 h 824769"/>
                <a:gd name="connsiteX4" fmla="*/ 6929 w 1414224"/>
                <a:gd name="connsiteY4" fmla="*/ 423720 h 824769"/>
                <a:gd name="connsiteX5" fmla="*/ 680633 w 1414224"/>
                <a:gd name="connsiteY5" fmla="*/ 817197 h 824769"/>
                <a:gd name="connsiteX6" fmla="*/ 733592 w 1414224"/>
                <a:gd name="connsiteY6" fmla="*/ 817197 h 824769"/>
                <a:gd name="connsiteX7" fmla="*/ 1407295 w 1414224"/>
                <a:gd name="connsiteY7" fmla="*/ 423720 h 824769"/>
                <a:gd name="connsiteX8" fmla="*/ 1407295 w 1414224"/>
                <a:gd name="connsiteY8" fmla="*/ 400479 h 82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4224" h="824769">
                  <a:moveTo>
                    <a:pt x="1407295" y="400479"/>
                  </a:moveTo>
                  <a:lnTo>
                    <a:pt x="733592" y="7001"/>
                  </a:lnTo>
                  <a:cubicBezTo>
                    <a:pt x="717494" y="-2334"/>
                    <a:pt x="696730" y="-2334"/>
                    <a:pt x="680633" y="7001"/>
                  </a:cubicBezTo>
                  <a:lnTo>
                    <a:pt x="6929" y="400479"/>
                  </a:lnTo>
                  <a:cubicBezTo>
                    <a:pt x="-2310" y="405908"/>
                    <a:pt x="-2310" y="419148"/>
                    <a:pt x="6929" y="423720"/>
                  </a:cubicBezTo>
                  <a:lnTo>
                    <a:pt x="680633" y="817197"/>
                  </a:lnTo>
                  <a:cubicBezTo>
                    <a:pt x="696730" y="827294"/>
                    <a:pt x="717494" y="827294"/>
                    <a:pt x="733592" y="817197"/>
                  </a:cubicBezTo>
                  <a:lnTo>
                    <a:pt x="1407295" y="423720"/>
                  </a:lnTo>
                  <a:cubicBezTo>
                    <a:pt x="1416534" y="419052"/>
                    <a:pt x="1416534" y="405908"/>
                    <a:pt x="1407295" y="4004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9BA033-9CE1-432A-852C-FE2DF055B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445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9BA033-9CE1-432A-852C-FE2DF055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AFD981-CD66-4113-A2C1-013E9E1A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B7DDC4-2240-4AD7-9118-88D07D5ABB51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5838825" y="6296594"/>
            <a:ext cx="2584450" cy="23457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pyright © 2021 Commvault  | 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242921F-5CE8-477D-AC37-54F3FA5F791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>
          <a:xfrm>
            <a:off x="8451014" y="6296594"/>
            <a:ext cx="273886" cy="23457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9312C1-3195-436A-A3DD-34CF0292CB2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Right Triangle 26">
            <a:extLst>
              <a:ext uri="{FF2B5EF4-FFF2-40B4-BE49-F238E27FC236}">
                <a16:creationId xmlns:a16="http://schemas.microsoft.com/office/drawing/2014/main" id="{7695460C-3A9F-4521-822C-3214F1143C4C}"/>
              </a:ext>
            </a:extLst>
          </p:cNvPr>
          <p:cNvSpPr/>
          <p:nvPr userDrawn="1"/>
        </p:nvSpPr>
        <p:spPr>
          <a:xfrm rot="10800000">
            <a:off x="8719804" y="1335009"/>
            <a:ext cx="3472195" cy="393704"/>
          </a:xfrm>
          <a:prstGeom prst="rtTriangle">
            <a:avLst/>
          </a:prstGeom>
          <a:gradFill flip="none" rotWithShape="1">
            <a:gsLst>
              <a:gs pos="100000">
                <a:schemeClr val="tx2">
                  <a:alpha val="25000"/>
                </a:schemeClr>
              </a:gs>
              <a:gs pos="0">
                <a:schemeClr val="tx2">
                  <a:alpha val="0"/>
                </a:schemeClr>
              </a:gs>
            </a:gsLst>
            <a:lin ang="0" scaled="1"/>
            <a:tileRect/>
          </a:gradFill>
          <a:ln w="3175"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113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Rectangle: Top Corners Rounded 27">
            <a:extLst>
              <a:ext uri="{FF2B5EF4-FFF2-40B4-BE49-F238E27FC236}">
                <a16:creationId xmlns:a16="http://schemas.microsoft.com/office/drawing/2014/main" id="{86504938-A843-45B2-9682-0D78555CE45B}"/>
              </a:ext>
            </a:extLst>
          </p:cNvPr>
          <p:cNvSpPr/>
          <p:nvPr userDrawn="1"/>
        </p:nvSpPr>
        <p:spPr>
          <a:xfrm rot="16200000">
            <a:off x="10194985" y="-555687"/>
            <a:ext cx="641231" cy="3352801"/>
          </a:xfrm>
          <a:prstGeom prst="round2SameRect">
            <a:avLst>
              <a:gd name="adj1" fmla="val 9065"/>
              <a:gd name="adj2" fmla="val 0"/>
            </a:avLst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-1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Picture Placeholder 36">
            <a:extLst>
              <a:ext uri="{FF2B5EF4-FFF2-40B4-BE49-F238E27FC236}">
                <a16:creationId xmlns:a16="http://schemas.microsoft.com/office/drawing/2014/main" id="{D81246F3-F76B-4AE6-B55A-A85D8F77A3FB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87706" y="821581"/>
            <a:ext cx="1893192" cy="59826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ase Study Logo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CC1B4036-0C47-497E-AF0B-1F56E1AE5EE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1498599"/>
            <a:ext cx="5737084" cy="3942533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en-US"/>
              <a:t>Click To Add Quot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CDA06A-0166-4AD3-BB9C-22C736EACEF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8825" y="5558828"/>
            <a:ext cx="5737225" cy="340322"/>
          </a:xfrm>
        </p:spPr>
        <p:txBody>
          <a:bodyPr anchor="ctr"/>
          <a:lstStyle>
            <a:lvl1pPr algn="l">
              <a:spcAft>
                <a:spcPts val="0"/>
              </a:spcAft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Enter Name | and Company</a:t>
            </a:r>
            <a:endParaRPr lang="en-GB"/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B9AB4356-5ED3-4E0B-B126-E9BECC5F8E91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67800" y="5689600"/>
            <a:ext cx="3124200" cy="406400"/>
          </a:xfrm>
          <a:solidFill>
            <a:schemeClr val="accent1"/>
          </a:solidFill>
        </p:spPr>
        <p:txBody>
          <a:bodyPr lIns="180000" tIns="180000" rIns="180000" bIns="180000" anchor="ctr"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Get the full story &gt;</a:t>
            </a:r>
            <a:endParaRPr lang="en-IN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90497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-Branded Case Stud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2FB597F-EFE8-4893-AABD-C387C0BD5CD5}"/>
              </a:ext>
            </a:extLst>
          </p:cNvPr>
          <p:cNvSpPr/>
          <p:nvPr userDrawn="1"/>
        </p:nvSpPr>
        <p:spPr>
          <a:xfrm>
            <a:off x="8888838" y="0"/>
            <a:ext cx="3303162" cy="6858000"/>
          </a:xfrm>
          <a:prstGeom prst="rect">
            <a:avLst/>
          </a:prstGeo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-1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" name="Graphic 32">
            <a:extLst>
              <a:ext uri="{FF2B5EF4-FFF2-40B4-BE49-F238E27FC236}">
                <a16:creationId xmlns:a16="http://schemas.microsoft.com/office/drawing/2014/main" id="{7E3F2A91-3683-4D76-A715-7775B1DEE9C8}"/>
              </a:ext>
            </a:extLst>
          </p:cNvPr>
          <p:cNvGrpSpPr/>
          <p:nvPr userDrawn="1"/>
        </p:nvGrpSpPr>
        <p:grpSpPr>
          <a:xfrm>
            <a:off x="9286875" y="5302952"/>
            <a:ext cx="2507088" cy="1555048"/>
            <a:chOff x="4876800" y="2671762"/>
            <a:chExt cx="2434304" cy="1509903"/>
          </a:xfrm>
          <a:solidFill>
            <a:schemeClr val="bg1"/>
          </a:solidFill>
        </p:grpSpPr>
        <p:sp>
          <p:nvSpPr>
            <p:cNvPr id="10" name="Freeform: Shape 9">
              <a:extLst>
                <a:ext uri="{FF2B5EF4-FFF2-40B4-BE49-F238E27FC236}">
                  <a16:creationId xmlns:a16="http://schemas.microsoft.com/office/drawing/2014/main" id="{C9541CFD-F87C-4F75-957C-3363F6B8EDF5}"/>
                </a:ext>
              </a:extLst>
            </p:cNvPr>
            <p:cNvSpPr/>
            <p:nvPr/>
          </p:nvSpPr>
          <p:spPr>
            <a:xfrm>
              <a:off x="5379362" y="3137582"/>
              <a:ext cx="1414224" cy="824769"/>
            </a:xfrm>
            <a:custGeom>
              <a:avLst/>
              <a:gdLst>
                <a:gd name="connsiteX0" fmla="*/ 1407295 w 1414224"/>
                <a:gd name="connsiteY0" fmla="*/ 423720 h 824769"/>
                <a:gd name="connsiteX1" fmla="*/ 733592 w 1414224"/>
                <a:gd name="connsiteY1" fmla="*/ 817197 h 824769"/>
                <a:gd name="connsiteX2" fmla="*/ 680633 w 1414224"/>
                <a:gd name="connsiteY2" fmla="*/ 817197 h 824769"/>
                <a:gd name="connsiteX3" fmla="*/ 6929 w 1414224"/>
                <a:gd name="connsiteY3" fmla="*/ 423720 h 824769"/>
                <a:gd name="connsiteX4" fmla="*/ 6929 w 1414224"/>
                <a:gd name="connsiteY4" fmla="*/ 400479 h 824769"/>
                <a:gd name="connsiteX5" fmla="*/ 680633 w 1414224"/>
                <a:gd name="connsiteY5" fmla="*/ 7001 h 824769"/>
                <a:gd name="connsiteX6" fmla="*/ 733592 w 1414224"/>
                <a:gd name="connsiteY6" fmla="*/ 7001 h 824769"/>
                <a:gd name="connsiteX7" fmla="*/ 1407295 w 1414224"/>
                <a:gd name="connsiteY7" fmla="*/ 400479 h 824769"/>
                <a:gd name="connsiteX8" fmla="*/ 1407295 w 1414224"/>
                <a:gd name="connsiteY8" fmla="*/ 423720 h 82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4224" h="824769">
                  <a:moveTo>
                    <a:pt x="1407295" y="423720"/>
                  </a:moveTo>
                  <a:lnTo>
                    <a:pt x="733592" y="817197"/>
                  </a:lnTo>
                  <a:cubicBezTo>
                    <a:pt x="717494" y="827294"/>
                    <a:pt x="696730" y="827294"/>
                    <a:pt x="680633" y="817197"/>
                  </a:cubicBezTo>
                  <a:lnTo>
                    <a:pt x="6929" y="423720"/>
                  </a:lnTo>
                  <a:cubicBezTo>
                    <a:pt x="-2310" y="419052"/>
                    <a:pt x="-2310" y="405908"/>
                    <a:pt x="6929" y="400479"/>
                  </a:cubicBezTo>
                  <a:lnTo>
                    <a:pt x="680633" y="7001"/>
                  </a:lnTo>
                  <a:cubicBezTo>
                    <a:pt x="696730" y="-2334"/>
                    <a:pt x="717494" y="-2334"/>
                    <a:pt x="733592" y="7001"/>
                  </a:cubicBezTo>
                  <a:lnTo>
                    <a:pt x="1407295" y="400479"/>
                  </a:lnTo>
                  <a:cubicBezTo>
                    <a:pt x="1416534" y="405908"/>
                    <a:pt x="1416534" y="419052"/>
                    <a:pt x="1407295" y="423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Freeform: Shape 11">
              <a:extLst>
                <a:ext uri="{FF2B5EF4-FFF2-40B4-BE49-F238E27FC236}">
                  <a16:creationId xmlns:a16="http://schemas.microsoft.com/office/drawing/2014/main" id="{E918793D-2E26-4AC2-B31C-F6BD5C2584A2}"/>
                </a:ext>
              </a:extLst>
            </p:cNvPr>
            <p:cNvSpPr/>
            <p:nvPr/>
          </p:nvSpPr>
          <p:spPr>
            <a:xfrm>
              <a:off x="4876800" y="2671762"/>
              <a:ext cx="2434304" cy="1509903"/>
            </a:xfrm>
            <a:custGeom>
              <a:avLst/>
              <a:gdLst>
                <a:gd name="connsiteX0" fmla="*/ 210312 w 2434304"/>
                <a:gd name="connsiteY0" fmla="*/ 821722 h 1509903"/>
                <a:gd name="connsiteX1" fmla="*/ 1217581 w 2434304"/>
                <a:gd name="connsiteY1" fmla="*/ 242316 h 1509903"/>
                <a:gd name="connsiteX2" fmla="*/ 2223992 w 2434304"/>
                <a:gd name="connsiteY2" fmla="*/ 821722 h 1509903"/>
                <a:gd name="connsiteX3" fmla="*/ 2223992 w 2434304"/>
                <a:gd name="connsiteY3" fmla="*/ 1509903 h 1509903"/>
                <a:gd name="connsiteX4" fmla="*/ 2434304 w 2434304"/>
                <a:gd name="connsiteY4" fmla="*/ 1509903 h 1509903"/>
                <a:gd name="connsiteX5" fmla="*/ 2434304 w 2434304"/>
                <a:gd name="connsiteY5" fmla="*/ 700659 h 1509903"/>
                <a:gd name="connsiteX6" fmla="*/ 1217581 w 2434304"/>
                <a:gd name="connsiteY6" fmla="*/ 0 h 1509903"/>
                <a:gd name="connsiteX7" fmla="*/ 0 w 2434304"/>
                <a:gd name="connsiteY7" fmla="*/ 700659 h 1509903"/>
                <a:gd name="connsiteX8" fmla="*/ 0 w 2434304"/>
                <a:gd name="connsiteY8" fmla="*/ 1509903 h 1509903"/>
                <a:gd name="connsiteX9" fmla="*/ 210312 w 2434304"/>
                <a:gd name="connsiteY9" fmla="*/ 1509903 h 1509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4304" h="1509903">
                  <a:moveTo>
                    <a:pt x="210312" y="821722"/>
                  </a:moveTo>
                  <a:lnTo>
                    <a:pt x="1217581" y="242316"/>
                  </a:lnTo>
                  <a:lnTo>
                    <a:pt x="2223992" y="821722"/>
                  </a:lnTo>
                  <a:lnTo>
                    <a:pt x="2223992" y="1509903"/>
                  </a:lnTo>
                  <a:lnTo>
                    <a:pt x="2434304" y="1509903"/>
                  </a:lnTo>
                  <a:lnTo>
                    <a:pt x="2434304" y="700659"/>
                  </a:lnTo>
                  <a:lnTo>
                    <a:pt x="1217581" y="0"/>
                  </a:lnTo>
                  <a:lnTo>
                    <a:pt x="0" y="700659"/>
                  </a:lnTo>
                  <a:lnTo>
                    <a:pt x="0" y="1509903"/>
                  </a:lnTo>
                  <a:lnTo>
                    <a:pt x="210312" y="15099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3" name="Freeform: Shape 12">
              <a:extLst>
                <a:ext uri="{FF2B5EF4-FFF2-40B4-BE49-F238E27FC236}">
                  <a16:creationId xmlns:a16="http://schemas.microsoft.com/office/drawing/2014/main" id="{C8F65064-C861-45F7-ABA5-637165C841FD}"/>
                </a:ext>
              </a:extLst>
            </p:cNvPr>
            <p:cNvSpPr/>
            <p:nvPr/>
          </p:nvSpPr>
          <p:spPr>
            <a:xfrm>
              <a:off x="5272563" y="3673351"/>
              <a:ext cx="739235" cy="508313"/>
            </a:xfrm>
            <a:custGeom>
              <a:avLst/>
              <a:gdLst>
                <a:gd name="connsiteX0" fmla="*/ 739235 w 739235"/>
                <a:gd name="connsiteY0" fmla="*/ 444305 h 508313"/>
                <a:gd name="connsiteX1" fmla="*/ 718661 w 739235"/>
                <a:gd name="connsiteY1" fmla="*/ 408872 h 508313"/>
                <a:gd name="connsiteX2" fmla="*/ 19812 w 739235"/>
                <a:gd name="connsiteY2" fmla="*/ 1583 h 508313"/>
                <a:gd name="connsiteX3" fmla="*/ 0 w 739235"/>
                <a:gd name="connsiteY3" fmla="*/ 13108 h 508313"/>
                <a:gd name="connsiteX4" fmla="*/ 0 w 739235"/>
                <a:gd name="connsiteY4" fmla="*/ 508313 h 508313"/>
                <a:gd name="connsiteX5" fmla="*/ 739235 w 739235"/>
                <a:gd name="connsiteY5" fmla="*/ 508313 h 508313"/>
                <a:gd name="connsiteX6" fmla="*/ 739235 w 739235"/>
                <a:gd name="connsiteY6" fmla="*/ 444305 h 50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9235" h="508313">
                  <a:moveTo>
                    <a:pt x="739235" y="444305"/>
                  </a:moveTo>
                  <a:cubicBezTo>
                    <a:pt x="739235" y="429637"/>
                    <a:pt x="731615" y="416587"/>
                    <a:pt x="718661" y="408872"/>
                  </a:cubicBezTo>
                  <a:lnTo>
                    <a:pt x="19812" y="1583"/>
                  </a:lnTo>
                  <a:cubicBezTo>
                    <a:pt x="10668" y="-3084"/>
                    <a:pt x="0" y="3107"/>
                    <a:pt x="0" y="13108"/>
                  </a:cubicBezTo>
                  <a:lnTo>
                    <a:pt x="0" y="508313"/>
                  </a:lnTo>
                  <a:lnTo>
                    <a:pt x="739235" y="508313"/>
                  </a:lnTo>
                  <a:lnTo>
                    <a:pt x="739235" y="4443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A4496369-AA90-4599-B8A9-B239786B1F3C}"/>
                </a:ext>
              </a:extLst>
            </p:cNvPr>
            <p:cNvSpPr/>
            <p:nvPr/>
          </p:nvSpPr>
          <p:spPr>
            <a:xfrm>
              <a:off x="5379362" y="3137582"/>
              <a:ext cx="1414224" cy="824769"/>
            </a:xfrm>
            <a:custGeom>
              <a:avLst/>
              <a:gdLst>
                <a:gd name="connsiteX0" fmla="*/ 1407295 w 1414224"/>
                <a:gd name="connsiteY0" fmla="*/ 400479 h 824769"/>
                <a:gd name="connsiteX1" fmla="*/ 733592 w 1414224"/>
                <a:gd name="connsiteY1" fmla="*/ 7001 h 824769"/>
                <a:gd name="connsiteX2" fmla="*/ 680633 w 1414224"/>
                <a:gd name="connsiteY2" fmla="*/ 7001 h 824769"/>
                <a:gd name="connsiteX3" fmla="*/ 6929 w 1414224"/>
                <a:gd name="connsiteY3" fmla="*/ 400479 h 824769"/>
                <a:gd name="connsiteX4" fmla="*/ 6929 w 1414224"/>
                <a:gd name="connsiteY4" fmla="*/ 423720 h 824769"/>
                <a:gd name="connsiteX5" fmla="*/ 680633 w 1414224"/>
                <a:gd name="connsiteY5" fmla="*/ 817197 h 824769"/>
                <a:gd name="connsiteX6" fmla="*/ 733592 w 1414224"/>
                <a:gd name="connsiteY6" fmla="*/ 817197 h 824769"/>
                <a:gd name="connsiteX7" fmla="*/ 1407295 w 1414224"/>
                <a:gd name="connsiteY7" fmla="*/ 423720 h 824769"/>
                <a:gd name="connsiteX8" fmla="*/ 1407295 w 1414224"/>
                <a:gd name="connsiteY8" fmla="*/ 400479 h 82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4224" h="824769">
                  <a:moveTo>
                    <a:pt x="1407295" y="400479"/>
                  </a:moveTo>
                  <a:lnTo>
                    <a:pt x="733592" y="7001"/>
                  </a:lnTo>
                  <a:cubicBezTo>
                    <a:pt x="717494" y="-2334"/>
                    <a:pt x="696730" y="-2334"/>
                    <a:pt x="680633" y="7001"/>
                  </a:cubicBezTo>
                  <a:lnTo>
                    <a:pt x="6929" y="400479"/>
                  </a:lnTo>
                  <a:cubicBezTo>
                    <a:pt x="-2310" y="405908"/>
                    <a:pt x="-2310" y="419148"/>
                    <a:pt x="6929" y="423720"/>
                  </a:cubicBezTo>
                  <a:lnTo>
                    <a:pt x="680633" y="817197"/>
                  </a:lnTo>
                  <a:cubicBezTo>
                    <a:pt x="696730" y="827294"/>
                    <a:pt x="717494" y="827294"/>
                    <a:pt x="733592" y="817197"/>
                  </a:cubicBezTo>
                  <a:lnTo>
                    <a:pt x="1407295" y="423720"/>
                  </a:lnTo>
                  <a:cubicBezTo>
                    <a:pt x="1416534" y="419052"/>
                    <a:pt x="1416534" y="405908"/>
                    <a:pt x="1407295" y="4004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4891A88C-BC1C-4B82-A5F8-49DB6422798D}"/>
              </a:ext>
            </a:extLst>
          </p:cNvPr>
          <p:cNvSpPr/>
          <p:nvPr userDrawn="1"/>
        </p:nvSpPr>
        <p:spPr>
          <a:xfrm rot="10800000">
            <a:off x="8719804" y="1335009"/>
            <a:ext cx="3472195" cy="393704"/>
          </a:xfrm>
          <a:prstGeom prst="rtTriangle">
            <a:avLst/>
          </a:prstGeom>
          <a:gradFill flip="none" rotWithShape="1">
            <a:gsLst>
              <a:gs pos="100000">
                <a:schemeClr val="tx2">
                  <a:alpha val="25000"/>
                </a:schemeClr>
              </a:gs>
              <a:gs pos="0">
                <a:schemeClr val="tx2">
                  <a:alpha val="0"/>
                </a:schemeClr>
              </a:gs>
            </a:gsLst>
            <a:lin ang="0" scaled="1"/>
            <a:tileRect/>
          </a:gradFill>
          <a:ln w="3175"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113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: Top Corners Rounded 19">
            <a:extLst>
              <a:ext uri="{FF2B5EF4-FFF2-40B4-BE49-F238E27FC236}">
                <a16:creationId xmlns:a16="http://schemas.microsoft.com/office/drawing/2014/main" id="{550ADCBF-D36A-4CB8-AA1F-CA23ED1DFD33}"/>
              </a:ext>
            </a:extLst>
          </p:cNvPr>
          <p:cNvSpPr/>
          <p:nvPr userDrawn="1"/>
        </p:nvSpPr>
        <p:spPr>
          <a:xfrm rot="16200000">
            <a:off x="10194985" y="-555687"/>
            <a:ext cx="641231" cy="3352801"/>
          </a:xfrm>
          <a:prstGeom prst="round2SameRect">
            <a:avLst>
              <a:gd name="adj1" fmla="val 9065"/>
              <a:gd name="adj2" fmla="val 0"/>
            </a:avLst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-1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FFB9A70-5BFA-44AB-8175-D7E382348347}"/>
              </a:ext>
            </a:extLst>
          </p:cNvPr>
          <p:cNvCxnSpPr/>
          <p:nvPr userDrawn="1"/>
        </p:nvCxnSpPr>
        <p:spPr>
          <a:xfrm>
            <a:off x="3372337" y="2235200"/>
            <a:ext cx="0" cy="386080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9BA033-9CE1-432A-852C-FE2DF055B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92611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9BA033-9CE1-432A-852C-FE2DF055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AFD981-CD66-4113-A2C1-013E9E1A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BDEE702-7A6E-41DE-B00C-5DD026BC4618}"/>
              </a:ext>
            </a:extLst>
          </p:cNvPr>
          <p:cNvSpPr>
            <a:spLocks noGrp="1"/>
          </p:cNvSpPr>
          <p:nvPr userDrawn="1">
            <p:ph type="title" hasCustomPrompt="1"/>
          </p:nvPr>
        </p:nvSpPr>
        <p:spPr>
          <a:xfrm>
            <a:off x="762000" y="820395"/>
            <a:ext cx="7962900" cy="620935"/>
          </a:xfrm>
        </p:spPr>
        <p:txBody>
          <a:bodyPr anchor="b"/>
          <a:lstStyle>
            <a:lvl1pPr>
              <a:defRPr sz="2000"/>
            </a:lvl1pPr>
          </a:lstStyle>
          <a:p>
            <a:r>
              <a:rPr lang="en-US"/>
              <a:t>Click To Add Headline – 2 Lines Max</a:t>
            </a:r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57988B74-1DD3-4D45-8CE0-FD7CEA48FF6F}"/>
              </a:ext>
            </a:extLst>
          </p:cNvPr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761998" y="2533650"/>
            <a:ext cx="2502467" cy="3562349"/>
          </a:xfrm>
        </p:spPr>
        <p:txBody>
          <a:bodyPr/>
          <a:lstStyle>
            <a:lvl1pPr marL="171450" indent="-171450">
              <a:buSzPct val="100000"/>
              <a:buFont typeface="Arial" panose="020B0604020202020204" pitchFamily="34" charset="0"/>
              <a:buChar char="•"/>
              <a:defRPr sz="1200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Insert challenge text here</a:t>
            </a:r>
          </a:p>
        </p:txBody>
      </p:sp>
      <p:sp>
        <p:nvSpPr>
          <p:cNvPr id="24" name="Text Placeholder 22">
            <a:extLst>
              <a:ext uri="{FF2B5EF4-FFF2-40B4-BE49-F238E27FC236}">
                <a16:creationId xmlns:a16="http://schemas.microsoft.com/office/drawing/2014/main" id="{59072087-5F4C-4A15-A6BA-645389BB8C01}"/>
              </a:ext>
            </a:extLst>
          </p:cNvPr>
          <p:cNvSpPr>
            <a:spLocks noGrp="1"/>
          </p:cNvSpPr>
          <p:nvPr userDrawn="1">
            <p:ph type="body" sz="quarter" idx="19" hasCustomPrompt="1"/>
          </p:nvPr>
        </p:nvSpPr>
        <p:spPr>
          <a:xfrm>
            <a:off x="3480209" y="2533651"/>
            <a:ext cx="5213775" cy="2649268"/>
          </a:xfrm>
        </p:spPr>
        <p:txBody>
          <a:bodyPr/>
          <a:lstStyle>
            <a:lvl1pPr marL="171450" indent="-171450">
              <a:buSzPct val="100000"/>
              <a:buFont typeface="Arial" panose="020B0604020202020204" pitchFamily="34" charset="0"/>
              <a:buChar char="•"/>
              <a:defRPr sz="1200"/>
            </a:lvl1pPr>
            <a:lvl2pPr marL="0" indent="0">
              <a:buFont typeface="Arial" panose="020B0604020202020204" pitchFamily="34" charset="0"/>
              <a:buNone/>
              <a:defRPr/>
            </a:lvl2pPr>
            <a:lvl3pPr marL="0" indent="0">
              <a:buFont typeface="Arial" panose="020B0604020202020204" pitchFamily="34" charset="0"/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US"/>
              <a:t>Insert solution text here</a:t>
            </a:r>
            <a:endParaRPr lang="en-GB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CB9956D3-4BEA-4666-896E-DB87A75AC459}"/>
              </a:ext>
            </a:extLst>
          </p:cNvPr>
          <p:cNvSpPr txBox="1"/>
          <p:nvPr userDrawn="1"/>
        </p:nvSpPr>
        <p:spPr>
          <a:xfrm>
            <a:off x="761998" y="2232025"/>
            <a:ext cx="2295261" cy="177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hallenge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8F62535E-AB1D-4CCD-8FD0-77076157144D}"/>
              </a:ext>
            </a:extLst>
          </p:cNvPr>
          <p:cNvSpPr txBox="1"/>
          <p:nvPr userDrawn="1"/>
        </p:nvSpPr>
        <p:spPr>
          <a:xfrm>
            <a:off x="3480209" y="2232025"/>
            <a:ext cx="2295261" cy="1778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lution</a:t>
            </a:r>
          </a:p>
        </p:txBody>
      </p:sp>
      <p:sp>
        <p:nvSpPr>
          <p:cNvPr id="37" name="Picture Placeholder 36">
            <a:extLst>
              <a:ext uri="{FF2B5EF4-FFF2-40B4-BE49-F238E27FC236}">
                <a16:creationId xmlns:a16="http://schemas.microsoft.com/office/drawing/2014/main" id="{96B2D3A6-1650-4D26-A5B7-8C6ECB92D758}"/>
              </a:ext>
            </a:extLst>
          </p:cNvPr>
          <p:cNvSpPr>
            <a:spLocks noGrp="1"/>
          </p:cNvSpPr>
          <p:nvPr userDrawn="1">
            <p:ph type="pic" sz="quarter" idx="21" hasCustomPrompt="1"/>
          </p:nvPr>
        </p:nvSpPr>
        <p:spPr>
          <a:xfrm>
            <a:off x="9587706" y="821581"/>
            <a:ext cx="1893192" cy="59826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ase Study Logo</a:t>
            </a:r>
          </a:p>
        </p:txBody>
      </p:sp>
      <p:sp>
        <p:nvSpPr>
          <p:cNvPr id="41" name="Text Placeholder 39">
            <a:extLst>
              <a:ext uri="{FF2B5EF4-FFF2-40B4-BE49-F238E27FC236}">
                <a16:creationId xmlns:a16="http://schemas.microsoft.com/office/drawing/2014/main" id="{D0429B46-1B83-403A-A990-E4EE40EB6D6C}"/>
              </a:ext>
            </a:extLst>
          </p:cNvPr>
          <p:cNvSpPr>
            <a:spLocks noGrp="1"/>
          </p:cNvSpPr>
          <p:nvPr userDrawn="1">
            <p:ph type="body" sz="quarter" idx="23" hasCustomPrompt="1"/>
          </p:nvPr>
        </p:nvSpPr>
        <p:spPr>
          <a:xfrm>
            <a:off x="9133777" y="2232026"/>
            <a:ext cx="2801047" cy="3290966"/>
          </a:xfrm>
        </p:spPr>
        <p:txBody>
          <a:bodyPr anchor="t"/>
          <a:lstStyle>
            <a:lvl1pPr algn="ctr">
              <a:spcAft>
                <a:spcPts val="0"/>
              </a:spcAft>
              <a:defRPr sz="1400" b="1">
                <a:solidFill>
                  <a:schemeClr val="accent1"/>
                </a:solidFill>
              </a:defRPr>
            </a:lvl1pPr>
            <a:lvl2pPr marL="90487" indent="0" algn="ctr">
              <a:spcAft>
                <a:spcPts val="0"/>
              </a:spcAft>
              <a:buNone/>
              <a:defRPr sz="1200"/>
            </a:lvl2pPr>
          </a:lstStyle>
          <a:p>
            <a:pPr lvl="0"/>
            <a:r>
              <a:rPr lang="en-GB"/>
              <a:t>Outcome 1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 2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 3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 4</a:t>
            </a:r>
          </a:p>
          <a:p>
            <a:pPr lvl="1"/>
            <a:r>
              <a:rPr lang="en-GB"/>
              <a:t>Outcome details</a:t>
            </a:r>
          </a:p>
          <a:p>
            <a:pPr lvl="1"/>
            <a:endParaRPr lang="en-GB"/>
          </a:p>
          <a:p>
            <a:pPr lvl="0"/>
            <a:r>
              <a:rPr lang="en-GB"/>
              <a:t>Outcome 5</a:t>
            </a:r>
          </a:p>
          <a:p>
            <a:pPr lvl="1"/>
            <a:r>
              <a:rPr lang="en-GB"/>
              <a:t>Outcome details</a:t>
            </a:r>
          </a:p>
        </p:txBody>
      </p:sp>
      <p:sp>
        <p:nvSpPr>
          <p:cNvPr id="44" name="Text Placeholder 39">
            <a:extLst>
              <a:ext uri="{FF2B5EF4-FFF2-40B4-BE49-F238E27FC236}">
                <a16:creationId xmlns:a16="http://schemas.microsoft.com/office/drawing/2014/main" id="{50F5356C-CB53-4CEA-85EF-AAD7F9494151}"/>
              </a:ext>
            </a:extLst>
          </p:cNvPr>
          <p:cNvSpPr>
            <a:spLocks noGrp="1"/>
          </p:cNvSpPr>
          <p:nvPr userDrawn="1">
            <p:ph type="body" sz="quarter" idx="24" hasCustomPrompt="1"/>
          </p:nvPr>
        </p:nvSpPr>
        <p:spPr>
          <a:xfrm>
            <a:off x="761998" y="1527432"/>
            <a:ext cx="7962893" cy="623665"/>
          </a:xfrm>
        </p:spPr>
        <p:txBody>
          <a:bodyPr vert="horz" wrap="square" lIns="0" tIns="0" rIns="0" bIns="0" rtlCol="0">
            <a:noAutofit/>
          </a:bodyPr>
          <a:lstStyle>
            <a:lvl1pPr>
              <a:defRPr lang="en-GB" b="1" dirty="0">
                <a:solidFill>
                  <a:schemeClr val="accent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GB"/>
              <a:t>Click To Add Sub-Headline – 3 Lines Max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87A9BF-C4FB-4D77-ABE9-1D710BF9D890}"/>
              </a:ext>
            </a:extLst>
          </p:cNvPr>
          <p:cNvSpPr txBox="1"/>
          <p:nvPr userDrawn="1"/>
        </p:nvSpPr>
        <p:spPr>
          <a:xfrm>
            <a:off x="756905" y="507999"/>
            <a:ext cx="1637952" cy="25400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 lv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None/>
              <a:tabLst>
                <a:tab pos="442913" algn="l"/>
              </a:tabLst>
              <a:defRPr lang="en-US" sz="1400" b="1" spc="0" baseline="0" dirty="0">
                <a:solidFill>
                  <a:schemeClr val="tx2"/>
                </a:solidFill>
                <a:latin typeface="+mj-lt"/>
              </a:defRPr>
            </a:lvl1pPr>
            <a:lvl2pPr marL="266700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SzPct val="125000"/>
              <a:buFont typeface="Arial" panose="020B0604020202020204" pitchFamily="34" charset="0"/>
              <a:buChar char="•"/>
              <a:tabLst>
                <a:tab pos="442913" algn="l"/>
              </a:tabLst>
              <a:defRPr lang="en-US" sz="1400" b="0" spc="0" baseline="0" dirty="0">
                <a:solidFill>
                  <a:schemeClr val="tx2"/>
                </a:solidFill>
              </a:defRPr>
            </a:lvl2pPr>
            <a:lvl3pPr marL="266700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panose="020B0604020202020204" pitchFamily="34" charset="0"/>
              <a:buChar char="•"/>
              <a:tabLst>
                <a:tab pos="442913" algn="l"/>
              </a:tabLst>
              <a:defRPr sz="1400" b="0" spc="0" baseline="0">
                <a:solidFill>
                  <a:schemeClr val="tx2"/>
                </a:solidFill>
              </a:defRPr>
            </a:lvl3pPr>
            <a:lvl4pPr marL="358775" indent="-17621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25000"/>
              <a:buFont typeface="Arial" panose="020B0604020202020204" pitchFamily="34" charset="0"/>
              <a:buChar char="•"/>
              <a:tabLst>
                <a:tab pos="447675" algn="l"/>
              </a:tabLst>
              <a:defRPr sz="1200" b="0" spc="0" baseline="0">
                <a:solidFill>
                  <a:schemeClr val="tx2"/>
                </a:solidFill>
              </a:defRPr>
            </a:lvl4pPr>
            <a:lvl5pPr marL="449263" indent="-182563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200" b="0" spc="0" baseline="0">
                <a:solidFill>
                  <a:schemeClr val="tx2"/>
                </a:solidFill>
              </a:defRPr>
            </a:lvl5pPr>
            <a:lvl6pPr marL="541338" indent="-18415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lang="en-US" sz="1050" b="0" dirty="0">
                <a:solidFill>
                  <a:schemeClr val="tx2"/>
                </a:solidFill>
              </a:defRPr>
            </a:lvl6pPr>
            <a:lvl7pPr marL="625475" indent="-1778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050">
                <a:solidFill>
                  <a:schemeClr val="tx2"/>
                </a:solidFill>
              </a:defRPr>
            </a:lvl7pPr>
            <a:lvl8pPr marL="804863" indent="-26670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800">
                <a:solidFill>
                  <a:schemeClr val="tx2"/>
                </a:solidFill>
              </a:defRPr>
            </a:lvl8pPr>
            <a:lvl9pPr marL="628650" indent="-180975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 typeface="Arial" panose="020B0604020202020204" pitchFamily="34" charset="0"/>
              <a:buChar char="‒"/>
              <a:tabLst>
                <a:tab pos="447675" algn="l"/>
              </a:tabLst>
              <a:defRPr sz="1000">
                <a:solidFill>
                  <a:schemeClr val="tx2"/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3F74CB"/>
              </a:buClr>
              <a:buSzPct val="125000"/>
              <a:buFont typeface="Arial" panose="020B0604020202020204" pitchFamily="34" charset="0"/>
              <a:buNone/>
              <a:tabLst>
                <a:tab pos="442913" algn="l"/>
              </a:tabLst>
              <a:defRPr/>
            </a:pPr>
            <a:r>
              <a:rPr kumimoji="0" lang="en-GB" sz="1400" b="1" i="0" u="none" strike="noStrike" kern="1200" cap="none" spc="0" normalizeH="0" baseline="0" noProof="0">
                <a:ln>
                  <a:noFill/>
                </a:ln>
                <a:solidFill>
                  <a:srgbClr val="3F74CB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SE STUDY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F7FC877C-6411-4739-81C2-789873BBB12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10260900" y="1546076"/>
            <a:ext cx="546800" cy="546800"/>
          </a:xfrm>
          <a:prstGeom prst="ellipse">
            <a:avLst/>
          </a:prstGeom>
          <a:noFill/>
          <a:ln>
            <a:noFill/>
          </a:ln>
        </p:spPr>
        <p:txBody>
          <a:bodyPr anchor="ctr"/>
          <a:lstStyle>
            <a:lvl1pPr algn="ctr">
              <a:defRPr sz="900"/>
            </a:lvl1pPr>
          </a:lstStyle>
          <a:p>
            <a:r>
              <a:rPr lang="en-GB"/>
              <a:t>Icon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258CB0F-8774-4432-946F-D70CAD8371D0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552701" y="6252370"/>
            <a:ext cx="927508" cy="390525"/>
          </a:xfrm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GB"/>
              <a:t>Co-branding logo</a:t>
            </a:r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DF9625A5-451C-491D-8EDE-9E3C06EFB11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39896" y="506401"/>
            <a:ext cx="2801047" cy="255600"/>
          </a:xfrm>
        </p:spPr>
        <p:txBody>
          <a:bodyPr anchor="t"/>
          <a:lstStyle>
            <a:lvl1pPr algn="ctr">
              <a:defRPr sz="1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Industry | Country/Region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84D9E5C-8E78-4F94-A1DA-AC3BA636082A}"/>
              </a:ext>
            </a:extLst>
          </p:cNvPr>
          <p:cNvCxnSpPr>
            <a:cxnSpLocks/>
          </p:cNvCxnSpPr>
          <p:nvPr userDrawn="1"/>
        </p:nvCxnSpPr>
        <p:spPr>
          <a:xfrm>
            <a:off x="2394857" y="6341848"/>
            <a:ext cx="0" cy="21156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981EDB8-0C20-49AA-91E5-D0B9262AC393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5838825" y="6296594"/>
            <a:ext cx="2584450" cy="23457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pyright © 2021 Commvault  |  All Rights Reserved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9BF84BEB-941F-4CC5-B17B-77AA22F4C7D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8451014" y="6296594"/>
            <a:ext cx="273886" cy="23457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9312C1-3195-436A-A3DD-34CF0292CB2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2ED8FB3F-9165-4EDD-9AF8-70355AEB90D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80208" y="5302952"/>
            <a:ext cx="5239596" cy="793047"/>
          </a:xfr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>
            <a:lvl1pPr>
              <a:defRPr lang="en-US" b="1" spc="-10" smtClean="0">
                <a:solidFill>
                  <a:schemeClr val="accent1"/>
                </a:solidFill>
              </a:defRPr>
            </a:lvl1pPr>
            <a:lvl2pPr>
              <a:defRPr lang="en-US" sz="1050" b="1" spc="-10" smtClean="0">
                <a:solidFill>
                  <a:schemeClr val="tx2"/>
                </a:solidFill>
              </a:defRPr>
            </a:lvl2pPr>
            <a:lvl3pPr marL="647700" indent="0">
              <a:buNone/>
              <a:defRPr lang="en-US" sz="1800" smtClean="0"/>
            </a:lvl3pPr>
            <a:lvl4pPr>
              <a:defRPr lang="en-US" sz="1800" smtClean="0"/>
            </a:lvl4pPr>
            <a:lvl5pPr>
              <a:defRPr lang="en-GB" sz="1800"/>
            </a:lvl5pPr>
          </a:lstStyle>
          <a:p>
            <a:pPr marR="0" lvl="0" fontAlgn="auto"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 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9141EDFA-71E7-4F7B-BA08-F03364CCBEA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593925" y="5362572"/>
            <a:ext cx="5012162" cy="48577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/>
              <a:t>Please insert quote with quote marks here. 2 lines max</a:t>
            </a:r>
            <a:endParaRPr lang="en-IN"/>
          </a:p>
        </p:txBody>
      </p:sp>
      <p:sp>
        <p:nvSpPr>
          <p:cNvPr id="31" name="Text Placeholder 4">
            <a:extLst>
              <a:ext uri="{FF2B5EF4-FFF2-40B4-BE49-F238E27FC236}">
                <a16:creationId xmlns:a16="http://schemas.microsoft.com/office/drawing/2014/main" id="{2D184697-2478-4737-94B6-3ECDEED9F2B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93925" y="5881178"/>
            <a:ext cx="5012162" cy="172833"/>
          </a:xfrm>
        </p:spPr>
        <p:txBody>
          <a:bodyPr anchor="ctr"/>
          <a:lstStyle>
            <a:lvl1pPr>
              <a:defRPr sz="10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Insert Name | and Company</a:t>
            </a:r>
            <a:endParaRPr lang="en-IN"/>
          </a:p>
        </p:txBody>
      </p:sp>
      <p:sp>
        <p:nvSpPr>
          <p:cNvPr id="42" name="Text Placeholder 24">
            <a:extLst>
              <a:ext uri="{FF2B5EF4-FFF2-40B4-BE49-F238E27FC236}">
                <a16:creationId xmlns:a16="http://schemas.microsoft.com/office/drawing/2014/main" id="{9C0F344A-6514-4BF3-9E4D-4379A6A0A77E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67800" y="5689600"/>
            <a:ext cx="3124200" cy="406400"/>
          </a:xfrm>
          <a:solidFill>
            <a:schemeClr val="accent1"/>
          </a:solidFill>
        </p:spPr>
        <p:txBody>
          <a:bodyPr lIns="180000" tIns="180000" rIns="180000" bIns="180000" anchor="ctr"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Get the full story &gt;</a:t>
            </a:r>
            <a:endParaRPr lang="en-IN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8901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Bleed -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Picture Placeholder 2">
            <a:extLst>
              <a:ext uri="{FF2B5EF4-FFF2-40B4-BE49-F238E27FC236}">
                <a16:creationId xmlns:a16="http://schemas.microsoft.com/office/drawing/2014/main" id="{22DD0925-B1BD-4AF0-8808-9194AA03FA50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6552000" tIns="0" rIns="1656000" bIns="0" rtlCol="0" anchor="ctr">
            <a:noAutofit/>
          </a:bodyPr>
          <a:lstStyle>
            <a:lvl1pPr algn="l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616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55" name="Text Placeholder 62">
            <a:extLst>
              <a:ext uri="{FF2B5EF4-FFF2-40B4-BE49-F238E27FC236}">
                <a16:creationId xmlns:a16="http://schemas.microsoft.com/office/drawing/2014/main" id="{D0D2C248-8636-4086-8528-683A41C51A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825" y="4607929"/>
            <a:ext cx="4348163" cy="3371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9" name="Text Placeholder 62">
            <a:extLst>
              <a:ext uri="{FF2B5EF4-FFF2-40B4-BE49-F238E27FC236}">
                <a16:creationId xmlns:a16="http://schemas.microsoft.com/office/drawing/2014/main" id="{2F24BD78-1DFC-4F1E-90A0-F4DF9E6926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58824" y="5613015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0" name="Text Placeholder 62">
            <a:extLst>
              <a:ext uri="{FF2B5EF4-FFF2-40B4-BE49-F238E27FC236}">
                <a16:creationId xmlns:a16="http://schemas.microsoft.com/office/drawing/2014/main" id="{702EA136-8E40-4E5B-B54B-90650890A75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58824" y="5880556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C52B148C-4923-492C-B941-99FA180983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2641600"/>
            <a:ext cx="4348163" cy="183145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Deck Title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5FCEBB-47E5-FEEA-7966-B29320DC722B}"/>
              </a:ext>
            </a:extLst>
          </p:cNvPr>
          <p:cNvSpPr txBox="1"/>
          <p:nvPr userDrawn="1"/>
        </p:nvSpPr>
        <p:spPr>
          <a:xfrm>
            <a:off x="3722074" y="1386140"/>
            <a:ext cx="1563687" cy="4043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RN IT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UD AGE</a:t>
            </a: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id="{07BA304C-A0DC-CDA7-EB58-96CB6CFE549F}"/>
              </a:ext>
            </a:extLst>
          </p:cNvPr>
          <p:cNvSpPr/>
          <p:nvPr userDrawn="1"/>
        </p:nvSpPr>
        <p:spPr>
          <a:xfrm>
            <a:off x="3211897" y="1352555"/>
            <a:ext cx="15107" cy="471479"/>
          </a:xfrm>
          <a:custGeom>
            <a:avLst/>
            <a:gdLst>
              <a:gd name="connsiteX0" fmla="*/ 7148 w 14297"/>
              <a:gd name="connsiteY0" fmla="*/ 446205 h 446204"/>
              <a:gd name="connsiteX1" fmla="*/ 0 w 14297"/>
              <a:gd name="connsiteY1" fmla="*/ 439069 h 446204"/>
              <a:gd name="connsiteX2" fmla="*/ 0 w 14297"/>
              <a:gd name="connsiteY2" fmla="*/ 7136 h 446204"/>
              <a:gd name="connsiteX3" fmla="*/ 7148 w 14297"/>
              <a:gd name="connsiteY3" fmla="*/ 0 h 446204"/>
              <a:gd name="connsiteX4" fmla="*/ 14297 w 14297"/>
              <a:gd name="connsiteY4" fmla="*/ 7136 h 446204"/>
              <a:gd name="connsiteX5" fmla="*/ 14297 w 14297"/>
              <a:gd name="connsiteY5" fmla="*/ 439069 h 446204"/>
              <a:gd name="connsiteX6" fmla="*/ 7148 w 14297"/>
              <a:gd name="connsiteY6" fmla="*/ 446205 h 446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97" h="446204">
                <a:moveTo>
                  <a:pt x="7148" y="446205"/>
                </a:moveTo>
                <a:cubicBezTo>
                  <a:pt x="3213" y="446205"/>
                  <a:pt x="0" y="443020"/>
                  <a:pt x="0" y="439069"/>
                </a:cubicBezTo>
                <a:lnTo>
                  <a:pt x="0" y="7136"/>
                </a:lnTo>
                <a:cubicBezTo>
                  <a:pt x="0" y="3208"/>
                  <a:pt x="3190" y="0"/>
                  <a:pt x="7148" y="0"/>
                </a:cubicBezTo>
                <a:cubicBezTo>
                  <a:pt x="11107" y="0"/>
                  <a:pt x="14297" y="3185"/>
                  <a:pt x="14297" y="7136"/>
                </a:cubicBezTo>
                <a:lnTo>
                  <a:pt x="14297" y="439069"/>
                </a:lnTo>
                <a:cubicBezTo>
                  <a:pt x="14274" y="443020"/>
                  <a:pt x="11084" y="446205"/>
                  <a:pt x="7148" y="446205"/>
                </a:cubicBezTo>
                <a:close/>
              </a:path>
            </a:pathLst>
          </a:custGeom>
          <a:solidFill>
            <a:schemeClr val="accent1"/>
          </a:solidFill>
          <a:ln w="19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6" name="Picture 5" descr="Icon&#10;&#10;Description automatically generated with medium confidence">
            <a:extLst>
              <a:ext uri="{FF2B5EF4-FFF2-40B4-BE49-F238E27FC236}">
                <a16:creationId xmlns:a16="http://schemas.microsoft.com/office/drawing/2014/main" id="{B5A0FFB9-F7CE-8AED-E052-BB12B943517C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58824" y="1271888"/>
            <a:ext cx="2229211" cy="7189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144669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-Branded Case Study - Qu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5" name="Group 4">
            <a:extLst>
              <a:ext uri="{FF2B5EF4-FFF2-40B4-BE49-F238E27FC236}">
                <a16:creationId xmlns:a16="http://schemas.microsoft.com/office/drawing/2014/main" id="{2F02ED6B-FF85-4689-B7AA-0138C83956DA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6952251" y="4285890"/>
            <a:ext cx="1772650" cy="1810110"/>
            <a:chOff x="3175" y="1481"/>
            <a:chExt cx="1325" cy="1353"/>
          </a:xfrm>
          <a:solidFill>
            <a:schemeClr val="bg2"/>
          </a:solidFill>
        </p:grpSpPr>
        <p:sp>
          <p:nvSpPr>
            <p:cNvPr id="106" name="Freeform 5">
              <a:extLst>
                <a:ext uri="{FF2B5EF4-FFF2-40B4-BE49-F238E27FC236}">
                  <a16:creationId xmlns:a16="http://schemas.microsoft.com/office/drawing/2014/main" id="{9007F272-66D8-4EAB-8F6C-1042134450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6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113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Freeform 6">
              <a:extLst>
                <a:ext uri="{FF2B5EF4-FFF2-40B4-BE49-F238E27FC236}">
                  <a16:creationId xmlns:a16="http://schemas.microsoft.com/office/drawing/2014/main" id="{EF6BA9FD-EC69-403A-AE5A-A2E5B69A91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75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113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111" name="Group 4">
            <a:extLst>
              <a:ext uri="{FF2B5EF4-FFF2-40B4-BE49-F238E27FC236}">
                <a16:creationId xmlns:a16="http://schemas.microsoft.com/office/drawing/2014/main" id="{1CB4F513-8D19-4449-A4A8-9B46E1EDEBEE}"/>
              </a:ext>
            </a:extLst>
          </p:cNvPr>
          <p:cNvGrpSpPr>
            <a:grpSpLocks noChangeAspect="1"/>
          </p:cNvGrpSpPr>
          <p:nvPr userDrawn="1"/>
        </p:nvGrpSpPr>
        <p:grpSpPr bwMode="auto">
          <a:xfrm rot="10800000">
            <a:off x="760266" y="524254"/>
            <a:ext cx="702449" cy="717293"/>
            <a:chOff x="3175" y="1481"/>
            <a:chExt cx="1325" cy="1353"/>
          </a:xfrm>
          <a:solidFill>
            <a:schemeClr val="bg2"/>
          </a:solidFill>
        </p:grpSpPr>
        <p:sp>
          <p:nvSpPr>
            <p:cNvPr id="112" name="Freeform 5">
              <a:extLst>
                <a:ext uri="{FF2B5EF4-FFF2-40B4-BE49-F238E27FC236}">
                  <a16:creationId xmlns:a16="http://schemas.microsoft.com/office/drawing/2014/main" id="{5D0423DF-A236-4170-AAE3-DC554F7F97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6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113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13" name="Freeform 6">
              <a:extLst>
                <a:ext uri="{FF2B5EF4-FFF2-40B4-BE49-F238E27FC236}">
                  <a16:creationId xmlns:a16="http://schemas.microsoft.com/office/drawing/2014/main" id="{77FF2407-D9DD-4EAC-8188-4A57542F04B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175" y="1481"/>
              <a:ext cx="584" cy="1353"/>
            </a:xfrm>
            <a:custGeom>
              <a:avLst/>
              <a:gdLst>
                <a:gd name="T0" fmla="*/ 245 w 245"/>
                <a:gd name="T1" fmla="*/ 244 h 568"/>
                <a:gd name="T2" fmla="*/ 245 w 245"/>
                <a:gd name="T3" fmla="*/ 0 h 568"/>
                <a:gd name="T4" fmla="*/ 0 w 245"/>
                <a:gd name="T5" fmla="*/ 0 h 568"/>
                <a:gd name="T6" fmla="*/ 0 w 245"/>
                <a:gd name="T7" fmla="*/ 244 h 568"/>
                <a:gd name="T8" fmla="*/ 104 w 245"/>
                <a:gd name="T9" fmla="*/ 244 h 568"/>
                <a:gd name="T10" fmla="*/ 28 w 245"/>
                <a:gd name="T11" fmla="*/ 489 h 568"/>
                <a:gd name="T12" fmla="*/ 28 w 245"/>
                <a:gd name="T13" fmla="*/ 568 h 568"/>
                <a:gd name="T14" fmla="*/ 245 w 245"/>
                <a:gd name="T15" fmla="*/ 244 h 5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45" h="568">
                  <a:moveTo>
                    <a:pt x="245" y="244"/>
                  </a:moveTo>
                  <a:cubicBezTo>
                    <a:pt x="245" y="0"/>
                    <a:pt x="245" y="0"/>
                    <a:pt x="24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44"/>
                    <a:pt x="0" y="244"/>
                    <a:pt x="0" y="244"/>
                  </a:cubicBezTo>
                  <a:cubicBezTo>
                    <a:pt x="104" y="244"/>
                    <a:pt x="104" y="244"/>
                    <a:pt x="104" y="244"/>
                  </a:cubicBezTo>
                  <a:cubicBezTo>
                    <a:pt x="108" y="286"/>
                    <a:pt x="110" y="443"/>
                    <a:pt x="28" y="489"/>
                  </a:cubicBezTo>
                  <a:cubicBezTo>
                    <a:pt x="28" y="568"/>
                    <a:pt x="28" y="568"/>
                    <a:pt x="28" y="568"/>
                  </a:cubicBezTo>
                  <a:cubicBezTo>
                    <a:pt x="28" y="568"/>
                    <a:pt x="245" y="533"/>
                    <a:pt x="245" y="244"/>
                  </a:cubicBezTo>
                  <a:close/>
                </a:path>
              </a:pathLst>
            </a:custGeom>
            <a:grpFill/>
            <a:ln w="7938" cap="sq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111314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3" name="Rectangle 92">
            <a:extLst>
              <a:ext uri="{FF2B5EF4-FFF2-40B4-BE49-F238E27FC236}">
                <a16:creationId xmlns:a16="http://schemas.microsoft.com/office/drawing/2014/main" id="{E0510FF8-2DF9-437E-B35B-4918304CD5B0}"/>
              </a:ext>
            </a:extLst>
          </p:cNvPr>
          <p:cNvSpPr/>
          <p:nvPr userDrawn="1"/>
        </p:nvSpPr>
        <p:spPr>
          <a:xfrm>
            <a:off x="8888838" y="0"/>
            <a:ext cx="3303162" cy="6858000"/>
          </a:xfrm>
          <a:prstGeom prst="rect">
            <a:avLst/>
          </a:prstGeom>
          <a:solidFill>
            <a:srgbClr val="F0F1F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-1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99" name="Graphic 32">
            <a:extLst>
              <a:ext uri="{FF2B5EF4-FFF2-40B4-BE49-F238E27FC236}">
                <a16:creationId xmlns:a16="http://schemas.microsoft.com/office/drawing/2014/main" id="{A0598853-666D-4A13-A606-ACE4A9AD7971}"/>
              </a:ext>
            </a:extLst>
          </p:cNvPr>
          <p:cNvGrpSpPr/>
          <p:nvPr userDrawn="1"/>
        </p:nvGrpSpPr>
        <p:grpSpPr>
          <a:xfrm>
            <a:off x="9286875" y="5302952"/>
            <a:ext cx="2507088" cy="1555048"/>
            <a:chOff x="4876800" y="2671762"/>
            <a:chExt cx="2434304" cy="1509903"/>
          </a:xfrm>
          <a:solidFill>
            <a:schemeClr val="bg1"/>
          </a:solidFill>
        </p:grpSpPr>
        <p:sp>
          <p:nvSpPr>
            <p:cNvPr id="100" name="Freeform: Shape 99">
              <a:extLst>
                <a:ext uri="{FF2B5EF4-FFF2-40B4-BE49-F238E27FC236}">
                  <a16:creationId xmlns:a16="http://schemas.microsoft.com/office/drawing/2014/main" id="{4FEC5157-CFA7-4573-89B5-FBBA78E565F7}"/>
                </a:ext>
              </a:extLst>
            </p:cNvPr>
            <p:cNvSpPr/>
            <p:nvPr/>
          </p:nvSpPr>
          <p:spPr>
            <a:xfrm>
              <a:off x="5379362" y="3137582"/>
              <a:ext cx="1414224" cy="824769"/>
            </a:xfrm>
            <a:custGeom>
              <a:avLst/>
              <a:gdLst>
                <a:gd name="connsiteX0" fmla="*/ 1407295 w 1414224"/>
                <a:gd name="connsiteY0" fmla="*/ 423720 h 824769"/>
                <a:gd name="connsiteX1" fmla="*/ 733592 w 1414224"/>
                <a:gd name="connsiteY1" fmla="*/ 817197 h 824769"/>
                <a:gd name="connsiteX2" fmla="*/ 680633 w 1414224"/>
                <a:gd name="connsiteY2" fmla="*/ 817197 h 824769"/>
                <a:gd name="connsiteX3" fmla="*/ 6929 w 1414224"/>
                <a:gd name="connsiteY3" fmla="*/ 423720 h 824769"/>
                <a:gd name="connsiteX4" fmla="*/ 6929 w 1414224"/>
                <a:gd name="connsiteY4" fmla="*/ 400479 h 824769"/>
                <a:gd name="connsiteX5" fmla="*/ 680633 w 1414224"/>
                <a:gd name="connsiteY5" fmla="*/ 7001 h 824769"/>
                <a:gd name="connsiteX6" fmla="*/ 733592 w 1414224"/>
                <a:gd name="connsiteY6" fmla="*/ 7001 h 824769"/>
                <a:gd name="connsiteX7" fmla="*/ 1407295 w 1414224"/>
                <a:gd name="connsiteY7" fmla="*/ 400479 h 824769"/>
                <a:gd name="connsiteX8" fmla="*/ 1407295 w 1414224"/>
                <a:gd name="connsiteY8" fmla="*/ 423720 h 82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4224" h="824769">
                  <a:moveTo>
                    <a:pt x="1407295" y="423720"/>
                  </a:moveTo>
                  <a:lnTo>
                    <a:pt x="733592" y="817197"/>
                  </a:lnTo>
                  <a:cubicBezTo>
                    <a:pt x="717494" y="827294"/>
                    <a:pt x="696730" y="827294"/>
                    <a:pt x="680633" y="817197"/>
                  </a:cubicBezTo>
                  <a:lnTo>
                    <a:pt x="6929" y="423720"/>
                  </a:lnTo>
                  <a:cubicBezTo>
                    <a:pt x="-2310" y="419052"/>
                    <a:pt x="-2310" y="405908"/>
                    <a:pt x="6929" y="400479"/>
                  </a:cubicBezTo>
                  <a:lnTo>
                    <a:pt x="680633" y="7001"/>
                  </a:lnTo>
                  <a:cubicBezTo>
                    <a:pt x="696730" y="-2334"/>
                    <a:pt x="717494" y="-2334"/>
                    <a:pt x="733592" y="7001"/>
                  </a:cubicBezTo>
                  <a:lnTo>
                    <a:pt x="1407295" y="400479"/>
                  </a:lnTo>
                  <a:cubicBezTo>
                    <a:pt x="1416534" y="405908"/>
                    <a:pt x="1416534" y="419052"/>
                    <a:pt x="1407295" y="423720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1" name="Freeform: Shape 100">
              <a:extLst>
                <a:ext uri="{FF2B5EF4-FFF2-40B4-BE49-F238E27FC236}">
                  <a16:creationId xmlns:a16="http://schemas.microsoft.com/office/drawing/2014/main" id="{93186C48-1EC3-426E-8684-50A21C433E77}"/>
                </a:ext>
              </a:extLst>
            </p:cNvPr>
            <p:cNvSpPr/>
            <p:nvPr/>
          </p:nvSpPr>
          <p:spPr>
            <a:xfrm>
              <a:off x="4876800" y="2671762"/>
              <a:ext cx="2434304" cy="1509903"/>
            </a:xfrm>
            <a:custGeom>
              <a:avLst/>
              <a:gdLst>
                <a:gd name="connsiteX0" fmla="*/ 210312 w 2434304"/>
                <a:gd name="connsiteY0" fmla="*/ 821722 h 1509903"/>
                <a:gd name="connsiteX1" fmla="*/ 1217581 w 2434304"/>
                <a:gd name="connsiteY1" fmla="*/ 242316 h 1509903"/>
                <a:gd name="connsiteX2" fmla="*/ 2223992 w 2434304"/>
                <a:gd name="connsiteY2" fmla="*/ 821722 h 1509903"/>
                <a:gd name="connsiteX3" fmla="*/ 2223992 w 2434304"/>
                <a:gd name="connsiteY3" fmla="*/ 1509903 h 1509903"/>
                <a:gd name="connsiteX4" fmla="*/ 2434304 w 2434304"/>
                <a:gd name="connsiteY4" fmla="*/ 1509903 h 1509903"/>
                <a:gd name="connsiteX5" fmla="*/ 2434304 w 2434304"/>
                <a:gd name="connsiteY5" fmla="*/ 700659 h 1509903"/>
                <a:gd name="connsiteX6" fmla="*/ 1217581 w 2434304"/>
                <a:gd name="connsiteY6" fmla="*/ 0 h 1509903"/>
                <a:gd name="connsiteX7" fmla="*/ 0 w 2434304"/>
                <a:gd name="connsiteY7" fmla="*/ 700659 h 1509903"/>
                <a:gd name="connsiteX8" fmla="*/ 0 w 2434304"/>
                <a:gd name="connsiteY8" fmla="*/ 1509903 h 1509903"/>
                <a:gd name="connsiteX9" fmla="*/ 210312 w 2434304"/>
                <a:gd name="connsiteY9" fmla="*/ 1509903 h 15099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2434304" h="1509903">
                  <a:moveTo>
                    <a:pt x="210312" y="821722"/>
                  </a:moveTo>
                  <a:lnTo>
                    <a:pt x="1217581" y="242316"/>
                  </a:lnTo>
                  <a:lnTo>
                    <a:pt x="2223992" y="821722"/>
                  </a:lnTo>
                  <a:lnTo>
                    <a:pt x="2223992" y="1509903"/>
                  </a:lnTo>
                  <a:lnTo>
                    <a:pt x="2434304" y="1509903"/>
                  </a:lnTo>
                  <a:lnTo>
                    <a:pt x="2434304" y="700659"/>
                  </a:lnTo>
                  <a:lnTo>
                    <a:pt x="1217581" y="0"/>
                  </a:lnTo>
                  <a:lnTo>
                    <a:pt x="0" y="700659"/>
                  </a:lnTo>
                  <a:lnTo>
                    <a:pt x="0" y="1509903"/>
                  </a:lnTo>
                  <a:lnTo>
                    <a:pt x="210312" y="1509903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Freeform: Shape 101">
              <a:extLst>
                <a:ext uri="{FF2B5EF4-FFF2-40B4-BE49-F238E27FC236}">
                  <a16:creationId xmlns:a16="http://schemas.microsoft.com/office/drawing/2014/main" id="{DFBAC83A-CE49-4638-8C5B-4D386A1923AC}"/>
                </a:ext>
              </a:extLst>
            </p:cNvPr>
            <p:cNvSpPr/>
            <p:nvPr/>
          </p:nvSpPr>
          <p:spPr>
            <a:xfrm>
              <a:off x="5272563" y="3673351"/>
              <a:ext cx="739235" cy="508313"/>
            </a:xfrm>
            <a:custGeom>
              <a:avLst/>
              <a:gdLst>
                <a:gd name="connsiteX0" fmla="*/ 739235 w 739235"/>
                <a:gd name="connsiteY0" fmla="*/ 444305 h 508313"/>
                <a:gd name="connsiteX1" fmla="*/ 718661 w 739235"/>
                <a:gd name="connsiteY1" fmla="*/ 408872 h 508313"/>
                <a:gd name="connsiteX2" fmla="*/ 19812 w 739235"/>
                <a:gd name="connsiteY2" fmla="*/ 1583 h 508313"/>
                <a:gd name="connsiteX3" fmla="*/ 0 w 739235"/>
                <a:gd name="connsiteY3" fmla="*/ 13108 h 508313"/>
                <a:gd name="connsiteX4" fmla="*/ 0 w 739235"/>
                <a:gd name="connsiteY4" fmla="*/ 508313 h 508313"/>
                <a:gd name="connsiteX5" fmla="*/ 739235 w 739235"/>
                <a:gd name="connsiteY5" fmla="*/ 508313 h 508313"/>
                <a:gd name="connsiteX6" fmla="*/ 739235 w 739235"/>
                <a:gd name="connsiteY6" fmla="*/ 444305 h 5083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9235" h="508313">
                  <a:moveTo>
                    <a:pt x="739235" y="444305"/>
                  </a:moveTo>
                  <a:cubicBezTo>
                    <a:pt x="739235" y="429637"/>
                    <a:pt x="731615" y="416587"/>
                    <a:pt x="718661" y="408872"/>
                  </a:cubicBezTo>
                  <a:lnTo>
                    <a:pt x="19812" y="1583"/>
                  </a:lnTo>
                  <a:cubicBezTo>
                    <a:pt x="10668" y="-3084"/>
                    <a:pt x="0" y="3107"/>
                    <a:pt x="0" y="13108"/>
                  </a:cubicBezTo>
                  <a:lnTo>
                    <a:pt x="0" y="508313"/>
                  </a:lnTo>
                  <a:lnTo>
                    <a:pt x="739235" y="508313"/>
                  </a:lnTo>
                  <a:lnTo>
                    <a:pt x="739235" y="444305"/>
                  </a:ln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3" name="Freeform: Shape 102">
              <a:extLst>
                <a:ext uri="{FF2B5EF4-FFF2-40B4-BE49-F238E27FC236}">
                  <a16:creationId xmlns:a16="http://schemas.microsoft.com/office/drawing/2014/main" id="{1974F1B5-D755-453A-8D76-76A81FBBFA45}"/>
                </a:ext>
              </a:extLst>
            </p:cNvPr>
            <p:cNvSpPr/>
            <p:nvPr/>
          </p:nvSpPr>
          <p:spPr>
            <a:xfrm>
              <a:off x="5379362" y="3137582"/>
              <a:ext cx="1414224" cy="824769"/>
            </a:xfrm>
            <a:custGeom>
              <a:avLst/>
              <a:gdLst>
                <a:gd name="connsiteX0" fmla="*/ 1407295 w 1414224"/>
                <a:gd name="connsiteY0" fmla="*/ 400479 h 824769"/>
                <a:gd name="connsiteX1" fmla="*/ 733592 w 1414224"/>
                <a:gd name="connsiteY1" fmla="*/ 7001 h 824769"/>
                <a:gd name="connsiteX2" fmla="*/ 680633 w 1414224"/>
                <a:gd name="connsiteY2" fmla="*/ 7001 h 824769"/>
                <a:gd name="connsiteX3" fmla="*/ 6929 w 1414224"/>
                <a:gd name="connsiteY3" fmla="*/ 400479 h 824769"/>
                <a:gd name="connsiteX4" fmla="*/ 6929 w 1414224"/>
                <a:gd name="connsiteY4" fmla="*/ 423720 h 824769"/>
                <a:gd name="connsiteX5" fmla="*/ 680633 w 1414224"/>
                <a:gd name="connsiteY5" fmla="*/ 817197 h 824769"/>
                <a:gd name="connsiteX6" fmla="*/ 733592 w 1414224"/>
                <a:gd name="connsiteY6" fmla="*/ 817197 h 824769"/>
                <a:gd name="connsiteX7" fmla="*/ 1407295 w 1414224"/>
                <a:gd name="connsiteY7" fmla="*/ 423720 h 824769"/>
                <a:gd name="connsiteX8" fmla="*/ 1407295 w 1414224"/>
                <a:gd name="connsiteY8" fmla="*/ 400479 h 82476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14224" h="824769">
                  <a:moveTo>
                    <a:pt x="1407295" y="400479"/>
                  </a:moveTo>
                  <a:lnTo>
                    <a:pt x="733592" y="7001"/>
                  </a:lnTo>
                  <a:cubicBezTo>
                    <a:pt x="717494" y="-2334"/>
                    <a:pt x="696730" y="-2334"/>
                    <a:pt x="680633" y="7001"/>
                  </a:cubicBezTo>
                  <a:lnTo>
                    <a:pt x="6929" y="400479"/>
                  </a:lnTo>
                  <a:cubicBezTo>
                    <a:pt x="-2310" y="405908"/>
                    <a:pt x="-2310" y="419148"/>
                    <a:pt x="6929" y="423720"/>
                  </a:cubicBezTo>
                  <a:lnTo>
                    <a:pt x="680633" y="817197"/>
                  </a:lnTo>
                  <a:cubicBezTo>
                    <a:pt x="696730" y="827294"/>
                    <a:pt x="717494" y="827294"/>
                    <a:pt x="733592" y="817197"/>
                  </a:cubicBezTo>
                  <a:lnTo>
                    <a:pt x="1407295" y="423720"/>
                  </a:lnTo>
                  <a:cubicBezTo>
                    <a:pt x="1416534" y="419052"/>
                    <a:pt x="1416534" y="405908"/>
                    <a:pt x="1407295" y="400479"/>
                  </a:cubicBezTo>
                  <a:close/>
                </a:path>
              </a:pathLst>
            </a:custGeom>
            <a:grpFill/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F9BA033-9CE1-432A-852C-FE2DF055BB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896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F9BA033-9CE1-432A-852C-FE2DF055BB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B6AFD981-CD66-4113-A2C1-013E9E1AD2D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7BD5F209-C2AC-4C23-9267-076CCF4A01E8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552701" y="6252370"/>
            <a:ext cx="927508" cy="390525"/>
          </a:xfrm>
        </p:spPr>
        <p:txBody>
          <a:bodyPr anchor="ctr"/>
          <a:lstStyle>
            <a:lvl1pPr algn="ctr">
              <a:defRPr sz="1050"/>
            </a:lvl1pPr>
          </a:lstStyle>
          <a:p>
            <a:r>
              <a:rPr lang="en-GB"/>
              <a:t>Co-branding logo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C88D0F6C-670C-41F5-9469-24A97AEA5920}"/>
              </a:ext>
            </a:extLst>
          </p:cNvPr>
          <p:cNvCxnSpPr>
            <a:cxnSpLocks/>
          </p:cNvCxnSpPr>
          <p:nvPr userDrawn="1"/>
        </p:nvCxnSpPr>
        <p:spPr>
          <a:xfrm>
            <a:off x="2394857" y="6341848"/>
            <a:ext cx="0" cy="211568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E809174-A539-40B2-B6E6-8C4BF3E088B1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>
          <a:xfrm>
            <a:off x="5838825" y="6296594"/>
            <a:ext cx="2584450" cy="23457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opyright © 2021 Commvault  | 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940FC2-5FCA-4856-8842-57F0BB179D5A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>
          <a:xfrm>
            <a:off x="8451014" y="6296594"/>
            <a:ext cx="273886" cy="234573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B9312C1-3195-436A-A3DD-34CF0292CB2F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ight Triangle 28">
            <a:extLst>
              <a:ext uri="{FF2B5EF4-FFF2-40B4-BE49-F238E27FC236}">
                <a16:creationId xmlns:a16="http://schemas.microsoft.com/office/drawing/2014/main" id="{34696DD7-9A8B-4A90-A7C9-830F3FB4A24A}"/>
              </a:ext>
            </a:extLst>
          </p:cNvPr>
          <p:cNvSpPr/>
          <p:nvPr userDrawn="1"/>
        </p:nvSpPr>
        <p:spPr>
          <a:xfrm rot="10800000">
            <a:off x="8719804" y="1335009"/>
            <a:ext cx="3472195" cy="393704"/>
          </a:xfrm>
          <a:prstGeom prst="rtTriangle">
            <a:avLst/>
          </a:prstGeom>
          <a:gradFill flip="none" rotWithShape="1">
            <a:gsLst>
              <a:gs pos="100000">
                <a:schemeClr val="tx2">
                  <a:alpha val="25000"/>
                </a:schemeClr>
              </a:gs>
              <a:gs pos="0">
                <a:schemeClr val="tx2">
                  <a:alpha val="0"/>
                </a:schemeClr>
              </a:gs>
            </a:gsLst>
            <a:lin ang="0" scaled="1"/>
            <a:tileRect/>
          </a:gradFill>
          <a:ln w="3175">
            <a:noFill/>
          </a:ln>
          <a:effectLst>
            <a:softEdge rad="762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srgbClr val="111314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: Top Corners Rounded 29">
            <a:extLst>
              <a:ext uri="{FF2B5EF4-FFF2-40B4-BE49-F238E27FC236}">
                <a16:creationId xmlns:a16="http://schemas.microsoft.com/office/drawing/2014/main" id="{970FD016-C18A-4C18-BB30-8B731C56A055}"/>
              </a:ext>
            </a:extLst>
          </p:cNvPr>
          <p:cNvSpPr/>
          <p:nvPr userDrawn="1"/>
        </p:nvSpPr>
        <p:spPr>
          <a:xfrm rot="16200000">
            <a:off x="10194985" y="-555687"/>
            <a:ext cx="641231" cy="3352801"/>
          </a:xfrm>
          <a:prstGeom prst="round2SameRect">
            <a:avLst>
              <a:gd name="adj1" fmla="val 9065"/>
              <a:gd name="adj2" fmla="val 0"/>
            </a:avLst>
          </a:prstGeom>
          <a:solidFill>
            <a:schemeClr val="bg1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1200" cap="none" spc="-10" normalizeH="0" baseline="0" noProof="0">
              <a:ln>
                <a:noFill/>
              </a:ln>
              <a:solidFill>
                <a:srgbClr val="544D5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Picture Placeholder 36">
            <a:extLst>
              <a:ext uri="{FF2B5EF4-FFF2-40B4-BE49-F238E27FC236}">
                <a16:creationId xmlns:a16="http://schemas.microsoft.com/office/drawing/2014/main" id="{11ADABC0-79C3-4454-943A-E66CFC6BAF8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587706" y="821581"/>
            <a:ext cx="1893192" cy="59826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en-GB"/>
              <a:t>Case Study Logo</a:t>
            </a:r>
          </a:p>
        </p:txBody>
      </p:sp>
      <p:sp>
        <p:nvSpPr>
          <p:cNvPr id="32" name="Title 1">
            <a:extLst>
              <a:ext uri="{FF2B5EF4-FFF2-40B4-BE49-F238E27FC236}">
                <a16:creationId xmlns:a16="http://schemas.microsoft.com/office/drawing/2014/main" id="{1E1AF3BE-3610-41EA-8097-488982E36DC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1498599"/>
            <a:ext cx="5737084" cy="3942533"/>
          </a:xfrm>
        </p:spPr>
        <p:txBody>
          <a:bodyPr anchor="ctr"/>
          <a:lstStyle>
            <a:lvl1pPr algn="l">
              <a:defRPr/>
            </a:lvl1pPr>
          </a:lstStyle>
          <a:p>
            <a:r>
              <a:rPr lang="en-US"/>
              <a:t>Click To Add Quote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B23A3F3E-0AFD-47B8-B736-024F83FBE7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58825" y="5558828"/>
            <a:ext cx="5737225" cy="340322"/>
          </a:xfrm>
        </p:spPr>
        <p:txBody>
          <a:bodyPr anchor="ctr"/>
          <a:lstStyle>
            <a:lvl1pPr algn="l">
              <a:spcAft>
                <a:spcPts val="0"/>
              </a:spcAft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/>
              <a:t>Enter Name | and Company</a:t>
            </a:r>
            <a:endParaRPr lang="en-GB"/>
          </a:p>
        </p:txBody>
      </p:sp>
      <p:sp>
        <p:nvSpPr>
          <p:cNvPr id="36" name="Text Placeholder 24">
            <a:extLst>
              <a:ext uri="{FF2B5EF4-FFF2-40B4-BE49-F238E27FC236}">
                <a16:creationId xmlns:a16="http://schemas.microsoft.com/office/drawing/2014/main" id="{E58A9419-13D1-4218-9C8F-C172B262BC18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067800" y="5689600"/>
            <a:ext cx="3124200" cy="406400"/>
          </a:xfrm>
          <a:solidFill>
            <a:schemeClr val="accent1"/>
          </a:solidFill>
        </p:spPr>
        <p:txBody>
          <a:bodyPr lIns="180000" tIns="180000" rIns="180000" bIns="180000" anchor="ctr"/>
          <a:lstStyle>
            <a:lvl1pPr algn="ctr"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Get the full story &gt;</a:t>
            </a:r>
            <a:endParaRPr lang="en-IN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735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sldNum="0" hdr="0" ft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nect with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1">
            <a:extLst>
              <a:ext uri="{FF2B5EF4-FFF2-40B4-BE49-F238E27FC236}">
                <a16:creationId xmlns:a16="http://schemas.microsoft.com/office/drawing/2014/main" id="{F5844D11-4749-4EBB-B227-043B44E9A07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2" y="1465377"/>
            <a:ext cx="5737084" cy="1294258"/>
          </a:xfrm>
        </p:spPr>
        <p:txBody>
          <a:bodyPr anchor="ctr"/>
          <a:lstStyle>
            <a:lvl1pPr>
              <a:defRPr sz="5400"/>
            </a:lvl1pPr>
          </a:lstStyle>
          <a:p>
            <a:pPr algn="l">
              <a:lnSpc>
                <a:spcPts val="5500"/>
              </a:lnSpc>
            </a:pPr>
            <a:r>
              <a:rPr lang="en-GB" sz="5400" b="1">
                <a:solidFill>
                  <a:schemeClr val="tx2"/>
                </a:solidFill>
                <a:latin typeface="+mj-lt"/>
                <a:ea typeface="+mj-ea"/>
                <a:cs typeface="+mj-cs"/>
              </a:rPr>
              <a:t>Connect with U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C333181-166E-4378-83FD-203FFDCCCBFE}"/>
              </a:ext>
            </a:extLst>
          </p:cNvPr>
          <p:cNvSpPr txBox="1"/>
          <p:nvPr userDrawn="1"/>
        </p:nvSpPr>
        <p:spPr>
          <a:xfrm>
            <a:off x="762002" y="3041091"/>
            <a:ext cx="4508500" cy="10572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GB" sz="1600">
                <a:solidFill>
                  <a:schemeClr val="tx2"/>
                </a:solidFill>
                <a:latin typeface="+mj-lt"/>
                <a:ea typeface="+mj-ea"/>
                <a:cs typeface="+mj-cs"/>
              </a:rPr>
              <a:t>For questions, comments or more information, visit us at </a:t>
            </a:r>
            <a:r>
              <a:rPr lang="en-GB" sz="1600">
                <a:solidFill>
                  <a:schemeClr val="tx2"/>
                </a:solidFill>
                <a:latin typeface="+mj-lt"/>
                <a:ea typeface="+mj-ea"/>
                <a:cs typeface="+mj-cs"/>
                <a:hlinkClick r:id="rId3"/>
              </a:rPr>
              <a:t>www.ipds.com</a:t>
            </a:r>
            <a:r>
              <a:rPr lang="en-GB" sz="1600">
                <a:solidFill>
                  <a:schemeClr val="tx2"/>
                </a:solidFill>
                <a:latin typeface="+mj-lt"/>
                <a:ea typeface="+mj-ea"/>
                <a:cs typeface="+mj-cs"/>
              </a:rPr>
              <a:t>. </a:t>
            </a:r>
          </a:p>
          <a:p>
            <a:pPr algn="l">
              <a:spcAft>
                <a:spcPts val="600"/>
              </a:spcAft>
            </a:pPr>
            <a:endParaRPr lang="en-GB" sz="1600">
              <a:solidFill>
                <a:schemeClr val="tx2"/>
              </a:solidFill>
              <a:latin typeface="+mj-lt"/>
              <a:ea typeface="+mj-ea"/>
              <a:cs typeface="+mj-cs"/>
            </a:endParaRPr>
          </a:p>
          <a:p>
            <a:pPr algn="l">
              <a:spcAft>
                <a:spcPts val="600"/>
              </a:spcAft>
            </a:pPr>
            <a:endParaRPr lang="en-GB" sz="1600">
              <a:solidFill>
                <a:schemeClr val="accent1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B1E81EBC-6323-2556-80AE-614C4A053A4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5334000" y="125506"/>
            <a:ext cx="6858000" cy="68580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212341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tx1">
            <a:lumMod val="90000"/>
            <a:lumOff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lowchart: Manual Input 1">
            <a:extLst>
              <a:ext uri="{FF2B5EF4-FFF2-40B4-BE49-F238E27FC236}">
                <a16:creationId xmlns:a16="http://schemas.microsoft.com/office/drawing/2014/main" id="{DDD17E25-EB4B-4C73-E5F8-197EF1CB1934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 userDrawn="1"/>
        </p:nvSpPr>
        <p:spPr>
          <a:xfrm rot="5400000" flipV="1">
            <a:off x="5166360" y="-160719"/>
            <a:ext cx="6858000" cy="7193280"/>
          </a:xfrm>
          <a:prstGeom prst="flowChartManualInput">
            <a:avLst/>
          </a:prstGeom>
          <a:solidFill>
            <a:srgbClr val="2D3337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spc="-10" err="1">
              <a:solidFill>
                <a:schemeClr val="tx2"/>
              </a:solidFill>
            </a:endParaRPr>
          </a:p>
        </p:txBody>
      </p:sp>
      <p:pic>
        <p:nvPicPr>
          <p:cNvPr id="16" name="Picture 15" descr="Logo, icon&#10;&#10;Description automatically generated">
            <a:extLst>
              <a:ext uri="{FF2B5EF4-FFF2-40B4-BE49-F238E27FC236}">
                <a16:creationId xmlns:a16="http://schemas.microsoft.com/office/drawing/2014/main" id="{2CE976D6-CC23-4AFB-C9CE-C4A65CD62B0D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2799080" y="2640131"/>
            <a:ext cx="1457960" cy="1494907"/>
          </a:xfrm>
          <a:prstGeom prst="rect">
            <a:avLst/>
          </a:prstGeom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67D0062-B9DF-1459-D932-3947E496E742}"/>
              </a:ext>
            </a:extLst>
          </p:cNvPr>
          <p:cNvCxnSpPr/>
          <p:nvPr userDrawn="1"/>
        </p:nvCxnSpPr>
        <p:spPr>
          <a:xfrm>
            <a:off x="4452620" y="2694256"/>
            <a:ext cx="386588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26BC855D-26BB-998C-02B7-253E93A8AA2D}"/>
              </a:ext>
            </a:extLst>
          </p:cNvPr>
          <p:cNvCxnSpPr/>
          <p:nvPr userDrawn="1"/>
        </p:nvCxnSpPr>
        <p:spPr>
          <a:xfrm>
            <a:off x="4452620" y="4111576"/>
            <a:ext cx="3865880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D2A623F2-CA09-6EF8-873D-9C32D1A55EDA}"/>
              </a:ext>
            </a:extLst>
          </p:cNvPr>
          <p:cNvSpPr txBox="1"/>
          <p:nvPr userDrawn="1"/>
        </p:nvSpPr>
        <p:spPr>
          <a:xfrm>
            <a:off x="4307840" y="2796527"/>
            <a:ext cx="4155440" cy="1193529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lang="en-US" sz="5400" b="1">
                <a:solidFill>
                  <a:schemeClr val="bg1"/>
                </a:solidFill>
              </a:rPr>
              <a:t>THANK YOU</a:t>
            </a:r>
            <a:endParaRPr kumimoji="0" lang="en-US" sz="3600" b="1" i="0" u="none" strike="noStrike" kern="1200" cap="none" spc="0" normalizeH="0" baseline="0" noProof="0" err="1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25953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Full Bleed - Light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42F5F124-3E16-CE9E-2E52-4B27035ABD6E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12191999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wrap="square" lIns="6552000" tIns="0" rIns="1656000" bIns="0" rtlCol="0" anchor="ctr">
            <a:noAutofit/>
          </a:bodyPr>
          <a:lstStyle>
            <a:lvl1pPr algn="l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4142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55" name="Text Placeholder 62">
            <a:extLst>
              <a:ext uri="{FF2B5EF4-FFF2-40B4-BE49-F238E27FC236}">
                <a16:creationId xmlns:a16="http://schemas.microsoft.com/office/drawing/2014/main" id="{D0D2C248-8636-4086-8528-683A41C51A9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825" y="4607929"/>
            <a:ext cx="4348163" cy="3371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1800" b="1" dirty="0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9" name="Text Placeholder 62">
            <a:extLst>
              <a:ext uri="{FF2B5EF4-FFF2-40B4-BE49-F238E27FC236}">
                <a16:creationId xmlns:a16="http://schemas.microsoft.com/office/drawing/2014/main" id="{0A029A50-F665-49DC-AAC4-B1CE309795E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758824" y="5613015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Presenter name</a:t>
            </a:r>
          </a:p>
        </p:txBody>
      </p:sp>
      <p:sp>
        <p:nvSpPr>
          <p:cNvPr id="10" name="Text Placeholder 62">
            <a:extLst>
              <a:ext uri="{FF2B5EF4-FFF2-40B4-BE49-F238E27FC236}">
                <a16:creationId xmlns:a16="http://schemas.microsoft.com/office/drawing/2014/main" id="{A2877564-8853-446A-8C73-3F194BAD8A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58824" y="5880556"/>
            <a:ext cx="4352400" cy="215444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>
              <a:defRPr lang="en-US" sz="1400" b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E75E198-D75F-43BA-B96C-5D6EE9113A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2641600"/>
            <a:ext cx="4348163" cy="183145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Deck Title</a:t>
            </a:r>
            <a:endParaRPr lang="en-GB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81C2922-07F9-3CF5-BE63-C12450CF94FD}"/>
              </a:ext>
            </a:extLst>
          </p:cNvPr>
          <p:cNvSpPr txBox="1"/>
          <p:nvPr userDrawn="1"/>
        </p:nvSpPr>
        <p:spPr>
          <a:xfrm>
            <a:off x="3722074" y="1386140"/>
            <a:ext cx="1563687" cy="4043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pPr algn="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DERN IT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NFRASTRUCTURE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FOR THE</a:t>
            </a:r>
            <a:b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en-US" sz="1200" b="1" i="0" u="none" strike="noStrike" kern="1200" cap="none" spc="100" normalizeH="0" baseline="0" noProof="0">
                <a:ln>
                  <a:noFill/>
                </a:ln>
                <a:solidFill>
                  <a:srgbClr val="389444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LOUD AGE</a:t>
            </a:r>
          </a:p>
        </p:txBody>
      </p:sp>
      <p:sp>
        <p:nvSpPr>
          <p:cNvPr id="4" name="Freeform: Shape 3">
            <a:extLst>
              <a:ext uri="{FF2B5EF4-FFF2-40B4-BE49-F238E27FC236}">
                <a16:creationId xmlns:a16="http://schemas.microsoft.com/office/drawing/2014/main" id="{53FE5B22-E4BA-EBAE-6BFD-3D3921ED2A48}"/>
              </a:ext>
            </a:extLst>
          </p:cNvPr>
          <p:cNvSpPr/>
          <p:nvPr userDrawn="1"/>
        </p:nvSpPr>
        <p:spPr>
          <a:xfrm>
            <a:off x="3211897" y="1352555"/>
            <a:ext cx="15107" cy="471479"/>
          </a:xfrm>
          <a:custGeom>
            <a:avLst/>
            <a:gdLst>
              <a:gd name="connsiteX0" fmla="*/ 7148 w 14297"/>
              <a:gd name="connsiteY0" fmla="*/ 446205 h 446204"/>
              <a:gd name="connsiteX1" fmla="*/ 0 w 14297"/>
              <a:gd name="connsiteY1" fmla="*/ 439069 h 446204"/>
              <a:gd name="connsiteX2" fmla="*/ 0 w 14297"/>
              <a:gd name="connsiteY2" fmla="*/ 7136 h 446204"/>
              <a:gd name="connsiteX3" fmla="*/ 7148 w 14297"/>
              <a:gd name="connsiteY3" fmla="*/ 0 h 446204"/>
              <a:gd name="connsiteX4" fmla="*/ 14297 w 14297"/>
              <a:gd name="connsiteY4" fmla="*/ 7136 h 446204"/>
              <a:gd name="connsiteX5" fmla="*/ 14297 w 14297"/>
              <a:gd name="connsiteY5" fmla="*/ 439069 h 446204"/>
              <a:gd name="connsiteX6" fmla="*/ 7148 w 14297"/>
              <a:gd name="connsiteY6" fmla="*/ 446205 h 446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4297" h="446204">
                <a:moveTo>
                  <a:pt x="7148" y="446205"/>
                </a:moveTo>
                <a:cubicBezTo>
                  <a:pt x="3213" y="446205"/>
                  <a:pt x="0" y="443020"/>
                  <a:pt x="0" y="439069"/>
                </a:cubicBezTo>
                <a:lnTo>
                  <a:pt x="0" y="7136"/>
                </a:lnTo>
                <a:cubicBezTo>
                  <a:pt x="0" y="3208"/>
                  <a:pt x="3190" y="0"/>
                  <a:pt x="7148" y="0"/>
                </a:cubicBezTo>
                <a:cubicBezTo>
                  <a:pt x="11107" y="0"/>
                  <a:pt x="14297" y="3185"/>
                  <a:pt x="14297" y="7136"/>
                </a:cubicBezTo>
                <a:lnTo>
                  <a:pt x="14297" y="439069"/>
                </a:lnTo>
                <a:cubicBezTo>
                  <a:pt x="14274" y="443020"/>
                  <a:pt x="11084" y="446205"/>
                  <a:pt x="7148" y="446205"/>
                </a:cubicBezTo>
                <a:close/>
              </a:path>
            </a:pathLst>
          </a:custGeom>
          <a:solidFill>
            <a:schemeClr val="accent1"/>
          </a:solidFill>
          <a:ln w="1996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pic>
        <p:nvPicPr>
          <p:cNvPr id="5" name="Picture 4" descr="Icon&#10;&#10;Description automatically generated with medium confidence">
            <a:extLst>
              <a:ext uri="{FF2B5EF4-FFF2-40B4-BE49-F238E27FC236}">
                <a16:creationId xmlns:a16="http://schemas.microsoft.com/office/drawing/2014/main" id="{CF1DCA1E-E5D3-6581-DF76-5D8DFF5D5505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758824" y="1271888"/>
            <a:ext cx="2229211" cy="7189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49478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184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8CE5E5B-C6F1-4ED4-B51A-5C368144AF9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983538" y="-2"/>
            <a:ext cx="4208462" cy="6858002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720000" tIns="0" rIns="720000" bIns="0" rtlCol="0" anchor="ctr">
            <a:noAutofit/>
          </a:bodyPr>
          <a:lstStyle>
            <a:lvl1pPr algn="ctr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13" name="Text Placeholder 62">
            <a:extLst>
              <a:ext uri="{FF2B5EF4-FFF2-40B4-BE49-F238E27FC236}">
                <a16:creationId xmlns:a16="http://schemas.microsoft.com/office/drawing/2014/main" id="{FC38891E-2373-4703-B98E-A73D15DAE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825" y="5169889"/>
            <a:ext cx="6158179" cy="3371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9BE12E6-4173-4FFC-8695-DE825B53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3225800"/>
            <a:ext cx="6162676" cy="180921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ection Title</a:t>
            </a:r>
            <a:endParaRPr lang="en-GB"/>
          </a:p>
        </p:txBody>
      </p:sp>
      <p:pic>
        <p:nvPicPr>
          <p:cNvPr id="2" name="Picture 1" descr="Background pattern&#10;&#10;Description automatically generated">
            <a:extLst>
              <a:ext uri="{FF2B5EF4-FFF2-40B4-BE49-F238E27FC236}">
                <a16:creationId xmlns:a16="http://schemas.microsoft.com/office/drawing/2014/main" id="{6B77E5C9-80AB-2CBE-7EDE-22C6BEEDBD5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59133"/>
          <a:stretch/>
        </p:blipFill>
        <p:spPr>
          <a:xfrm>
            <a:off x="7988034" y="0"/>
            <a:ext cx="4203964" cy="6858000"/>
          </a:xfrm>
          <a:prstGeom prst="rect">
            <a:avLst/>
          </a:prstGeom>
        </p:spPr>
      </p:pic>
      <p:pic>
        <p:nvPicPr>
          <p:cNvPr id="3" name="Picture 2" descr="Icon&#10;&#10;Description automatically generated with medium confidence">
            <a:extLst>
              <a:ext uri="{FF2B5EF4-FFF2-40B4-BE49-F238E27FC236}">
                <a16:creationId xmlns:a16="http://schemas.microsoft.com/office/drawing/2014/main" id="{440EE58C-24D5-78CA-FCE7-1713BF6877BA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8824" y="398128"/>
            <a:ext cx="2229211" cy="7189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123169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186B73E-5A48-4B8E-BF0D-F44978AB5D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9184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186B73E-5A48-4B8E-BF0D-F44978AB5DC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FF6D917-FDBF-4D56-B988-998975BDC87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rtl="0"/>
            <a:endParaRPr kumimoji="0" lang="en-US" sz="3200" b="1" i="0" u="none" cap="none" baseline="0">
              <a:latin typeface="Arial" panose="020B0604020202020204" pitchFamily="34" charset="0"/>
              <a:ea typeface="+mj-ea"/>
              <a:cs typeface="+mj-cs"/>
            </a:endParaRP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58CE5E5B-C6F1-4ED4-B51A-5C368144AF96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7983538" y="-2"/>
            <a:ext cx="4208462" cy="6858002"/>
          </a:xfrm>
          <a:prstGeom prst="rect">
            <a:avLst/>
          </a:prstGeom>
          <a:solidFill>
            <a:schemeClr val="bg2"/>
          </a:solidFill>
        </p:spPr>
        <p:txBody>
          <a:bodyPr vert="horz" wrap="square" lIns="720000" tIns="0" rIns="720000" bIns="0" rtlCol="0" anchor="ctr">
            <a:noAutofit/>
          </a:bodyPr>
          <a:lstStyle>
            <a:lvl1pPr algn="ctr">
              <a:defRPr lang="en-GB">
                <a:solidFill>
                  <a:schemeClr val="bg1"/>
                </a:solidFill>
              </a:defRPr>
            </a:lvl1pPr>
          </a:lstStyle>
          <a:p>
            <a:r>
              <a:rPr lang="en-GB"/>
              <a:t>To insert a picture, click the icon and select Brand Pictures from the ribbon, or insert a file from your computer.</a:t>
            </a: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br>
              <a:rPr lang="en-GB"/>
            </a:br>
            <a:r>
              <a:rPr lang="en-GB"/>
              <a:t>To adjust/reframe the picture, use the Crop tool in the Picture Format tab on the ribbon. </a:t>
            </a:r>
          </a:p>
        </p:txBody>
      </p:sp>
      <p:sp>
        <p:nvSpPr>
          <p:cNvPr id="13" name="Text Placeholder 62">
            <a:extLst>
              <a:ext uri="{FF2B5EF4-FFF2-40B4-BE49-F238E27FC236}">
                <a16:creationId xmlns:a16="http://schemas.microsoft.com/office/drawing/2014/main" id="{FC38891E-2373-4703-B98E-A73D15DAEF1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58825" y="5169889"/>
            <a:ext cx="6158179" cy="33713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>
              <a:defRPr lang="en-US" sz="1800" b="1">
                <a:solidFill>
                  <a:schemeClr val="tx1"/>
                </a:solidFill>
                <a:latin typeface="+mj-lt"/>
              </a:defRPr>
            </a:lvl1pPr>
          </a:lstStyle>
          <a:p>
            <a:pPr lvl="0">
              <a:spcAft>
                <a:spcPts val="0"/>
              </a:spcAft>
            </a:pPr>
            <a:r>
              <a:rPr lang="en-US"/>
              <a:t>Click To Add Sub-Headline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9BE12E6-4173-4FFC-8695-DE825B536C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58824" y="3225800"/>
            <a:ext cx="6162676" cy="1809216"/>
          </a:xfrm>
        </p:spPr>
        <p:txBody>
          <a:bodyPr anchor="b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Add Section Title</a:t>
            </a:r>
            <a:endParaRPr lang="en-GB"/>
          </a:p>
        </p:txBody>
      </p:sp>
      <p:pic>
        <p:nvPicPr>
          <p:cNvPr id="3" name="Picture 2" descr="Background pattern&#10;&#10;Description automatically generated">
            <a:extLst>
              <a:ext uri="{FF2B5EF4-FFF2-40B4-BE49-F238E27FC236}">
                <a16:creationId xmlns:a16="http://schemas.microsoft.com/office/drawing/2014/main" id="{9FD4AF0E-5CAF-6207-443A-4D9A41A1447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t="59068"/>
          <a:stretch/>
        </p:blipFill>
        <p:spPr>
          <a:xfrm rot="16200000">
            <a:off x="6663265" y="1324767"/>
            <a:ext cx="6858000" cy="4208462"/>
          </a:xfrm>
          <a:prstGeom prst="rect">
            <a:avLst/>
          </a:prstGeom>
        </p:spPr>
      </p:pic>
      <p:pic>
        <p:nvPicPr>
          <p:cNvPr id="4" name="Picture 3" descr="Icon&#10;&#10;Description automatically generated with medium confidence">
            <a:extLst>
              <a:ext uri="{FF2B5EF4-FFF2-40B4-BE49-F238E27FC236}">
                <a16:creationId xmlns:a16="http://schemas.microsoft.com/office/drawing/2014/main" id="{622AFF2C-E8CD-0E09-4556-7E1FD642EB36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58824" y="398128"/>
            <a:ext cx="2229211" cy="718924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555475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68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oleObject" Target="../embeddings/oleObject1.bin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O NOT DELETE! BrandIn settings.">
            <a:extLst>
              <a:ext uri="{FF2B5EF4-FFF2-40B4-BE49-F238E27FC236}">
                <a16:creationId xmlns:a16="http://schemas.microsoft.com/office/drawing/2014/main" id="{E07B98EE-02E3-46DF-AFFF-A10B5CEC80A7}"/>
              </a:ext>
            </a:extLst>
          </p:cNvPr>
          <p:cNvSpPr/>
          <p:nvPr userDrawn="1">
            <p:custDataLst>
              <p:tags r:id="rId65"/>
            </p:custDataLst>
          </p:nvPr>
        </p:nvSpPr>
        <p:spPr>
          <a:xfrm>
            <a:off x="0" y="0"/>
            <a:ext cx="0" cy="0"/>
          </a:xfrm>
          <a:prstGeom prst="rect">
            <a:avLst/>
          </a:prstGeom>
          <a:noFill/>
          <a:ln w="3175"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t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GB" sz="1200" spc="-10">
              <a:solidFill>
                <a:schemeClr val="tx2"/>
              </a:solidFill>
            </a:endParaRPr>
          </a:p>
        </p:txBody>
      </p:sp>
      <p:graphicFrame>
        <p:nvGraphicFramePr>
          <p:cNvPr id="8" name="Object 7">
            <a:extLst>
              <a:ext uri="{FF2B5EF4-FFF2-40B4-BE49-F238E27FC236}">
                <a16:creationId xmlns:a16="http://schemas.microsoft.com/office/drawing/2014/main" id="{48781781-255F-41FB-B7EB-6A5BA83E443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6"/>
            </p:custDataLst>
            <p:extLst>
              <p:ext uri="{D42A27DB-BD31-4B8C-83A1-F6EECF244321}">
                <p14:modId xmlns:p14="http://schemas.microsoft.com/office/powerpoint/2010/main" val="3732913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7" imgW="347" imgH="348" progId="TCLayout.ActiveDocument.1">
                  <p:embed/>
                </p:oleObj>
              </mc:Choice>
              <mc:Fallback>
                <p:oleObj name="think-cell Slide" r:id="rId67" imgW="347" imgH="348" progId="TCLayout.ActiveDocument.1">
                  <p:embed/>
                  <p:pic>
                    <p:nvPicPr>
                      <p:cNvPr id="8" name="Object 7">
                        <a:extLst>
                          <a:ext uri="{FF2B5EF4-FFF2-40B4-BE49-F238E27FC236}">
                            <a16:creationId xmlns:a16="http://schemas.microsoft.com/office/drawing/2014/main" id="{48781781-255F-41FB-B7EB-6A5BA83E44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5A21CE-4A33-4348-92C5-E99792C3B0A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62000" y="1657350"/>
            <a:ext cx="10668000" cy="443865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/>
              <a:t>Level 1</a:t>
            </a:r>
          </a:p>
          <a:p>
            <a:pPr lvl="1"/>
            <a:r>
              <a:rPr lang="en-US"/>
              <a:t>Level 2</a:t>
            </a:r>
          </a:p>
          <a:p>
            <a:pPr lvl="2"/>
            <a:r>
              <a:rPr lang="en-US"/>
              <a:t>Level 3</a:t>
            </a:r>
          </a:p>
          <a:p>
            <a:pPr lvl="3"/>
            <a:r>
              <a:rPr lang="en-US"/>
              <a:t>Level 4</a:t>
            </a:r>
          </a:p>
          <a:p>
            <a:pPr lvl="4"/>
            <a:r>
              <a:rPr lang="en-US"/>
              <a:t>Level 5</a:t>
            </a:r>
          </a:p>
          <a:p>
            <a:pPr lvl="5"/>
            <a:r>
              <a:rPr lang="en-US"/>
              <a:t>Level 6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C3B3E55-E74E-45A7-8F01-904D937573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508000"/>
            <a:ext cx="10668000" cy="461665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/>
          <a:p>
            <a:pPr lvl="0"/>
            <a:r>
              <a:rPr lang="en-US"/>
              <a:t>Click To Add Headline</a:t>
            </a:r>
          </a:p>
        </p:txBody>
      </p:sp>
    </p:spTree>
    <p:custDataLst>
      <p:tags r:id="rId64"/>
    </p:custDataLst>
    <p:extLst>
      <p:ext uri="{BB962C8B-B14F-4D97-AF65-F5344CB8AC3E}">
        <p14:creationId xmlns:p14="http://schemas.microsoft.com/office/powerpoint/2010/main" val="2014045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8" r:id="rId1"/>
    <p:sldLayoutId id="2147483948" r:id="rId2"/>
    <p:sldLayoutId id="2147484236" r:id="rId3"/>
    <p:sldLayoutId id="2147484055" r:id="rId4"/>
    <p:sldLayoutId id="2147484025" r:id="rId5"/>
    <p:sldLayoutId id="2147484026" r:id="rId6"/>
    <p:sldLayoutId id="2147484027" r:id="rId7"/>
    <p:sldLayoutId id="2147483969" r:id="rId8"/>
    <p:sldLayoutId id="2147484235" r:id="rId9"/>
    <p:sldLayoutId id="2147484063" r:id="rId10"/>
    <p:sldLayoutId id="2147484064" r:id="rId11"/>
    <p:sldLayoutId id="2147484065" r:id="rId12"/>
    <p:sldLayoutId id="2147484237" r:id="rId13"/>
    <p:sldLayoutId id="2147484054" r:id="rId14"/>
    <p:sldLayoutId id="2147483949" r:id="rId15"/>
    <p:sldLayoutId id="2147484018" r:id="rId16"/>
    <p:sldLayoutId id="2147483953" r:id="rId17"/>
    <p:sldLayoutId id="2147484001" r:id="rId18"/>
    <p:sldLayoutId id="2147483954" r:id="rId19"/>
    <p:sldLayoutId id="2147483965" r:id="rId20"/>
    <p:sldLayoutId id="2147484056" r:id="rId21"/>
    <p:sldLayoutId id="2147483967" r:id="rId22"/>
    <p:sldLayoutId id="2147484020" r:id="rId23"/>
    <p:sldLayoutId id="2147483970" r:id="rId24"/>
    <p:sldLayoutId id="2147484014" r:id="rId25"/>
    <p:sldLayoutId id="2147484000" r:id="rId26"/>
    <p:sldLayoutId id="2147484011" r:id="rId27"/>
    <p:sldLayoutId id="2147483999" r:id="rId28"/>
    <p:sldLayoutId id="2147483998" r:id="rId29"/>
    <p:sldLayoutId id="2147484021" r:id="rId30"/>
    <p:sldLayoutId id="2147484012" r:id="rId31"/>
    <p:sldLayoutId id="2147483994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58" r:id="rId42"/>
    <p:sldLayoutId id="2147484036" r:id="rId43"/>
    <p:sldLayoutId id="2147484059" r:id="rId44"/>
    <p:sldLayoutId id="2147484060" r:id="rId45"/>
    <p:sldLayoutId id="2147484013" r:id="rId46"/>
    <p:sldLayoutId id="2147484015" r:id="rId47"/>
    <p:sldLayoutId id="2147484016" r:id="rId48"/>
    <p:sldLayoutId id="2147484030" r:id="rId49"/>
    <p:sldLayoutId id="2147484032" r:id="rId50"/>
    <p:sldLayoutId id="2147484028" r:id="rId51"/>
    <p:sldLayoutId id="2147484029" r:id="rId52"/>
    <p:sldLayoutId id="2147484017" r:id="rId53"/>
    <p:sldLayoutId id="2147484019" r:id="rId54"/>
    <p:sldLayoutId id="2147484022" r:id="rId55"/>
    <p:sldLayoutId id="2147484033" r:id="rId56"/>
    <p:sldLayoutId id="2147484123" r:id="rId57"/>
    <p:sldLayoutId id="2147484124" r:id="rId58"/>
    <p:sldLayoutId id="2147484125" r:id="rId59"/>
    <p:sldLayoutId id="2147484126" r:id="rId60"/>
    <p:sldLayoutId id="2147484062" r:id="rId61"/>
    <p:sldLayoutId id="2147484061" r:id="rId62"/>
  </p:sldLayoutIdLst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3200" b="1" kern="1200" spc="100" baseline="0" dirty="0" smtClean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50000"/>
        <a:buFont typeface="Arial" panose="020B0604020202020204" pitchFamily="34" charset="0"/>
        <a:buNone/>
        <a:tabLst/>
        <a:defRPr lang="en-US" sz="2000" b="0" kern="1200" spc="0" baseline="0" dirty="0">
          <a:solidFill>
            <a:schemeClr val="tx2"/>
          </a:solidFill>
          <a:latin typeface="+mn-lt"/>
          <a:ea typeface="+mn-ea"/>
          <a:cs typeface="+mn-cs"/>
        </a:defRPr>
      </a:lvl1pPr>
      <a:lvl2pPr marL="182563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accent1"/>
        </a:buClr>
        <a:buSzPct val="100000"/>
        <a:buFont typeface="Arial" panose="020B0604020202020204" pitchFamily="34" charset="0"/>
        <a:buChar char="•"/>
        <a:tabLst/>
        <a:defRPr lang="en-US" sz="1600" b="0" kern="1200" spc="0" baseline="0" dirty="0">
          <a:solidFill>
            <a:schemeClr val="tx2"/>
          </a:solidFill>
          <a:latin typeface="+mn-lt"/>
          <a:ea typeface="+mn-ea"/>
          <a:cs typeface="+mn-cs"/>
        </a:defRPr>
      </a:lvl2pPr>
      <a:lvl3pPr marL="358775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•"/>
        <a:tabLst/>
        <a:defRPr sz="1400" b="0" kern="1200" spc="0" baseline="0">
          <a:solidFill>
            <a:schemeClr val="tx2"/>
          </a:solidFill>
          <a:latin typeface="+mn-lt"/>
          <a:ea typeface="+mn-ea"/>
          <a:cs typeface="+mn-cs"/>
        </a:defRPr>
      </a:lvl3pPr>
      <a:lvl4pPr marL="541338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‒"/>
        <a:tabLst/>
        <a:defRPr sz="1200" b="0" kern="1200" spc="0" baseline="0">
          <a:solidFill>
            <a:schemeClr val="tx2"/>
          </a:solidFill>
          <a:latin typeface="+mn-lt"/>
          <a:ea typeface="+mn-ea"/>
          <a:cs typeface="+mn-cs"/>
        </a:defRPr>
      </a:lvl4pPr>
      <a:lvl5pPr marL="715963" indent="-17621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‒"/>
        <a:tabLst/>
        <a:defRPr sz="1100" b="0" kern="1200" spc="0" baseline="0">
          <a:solidFill>
            <a:schemeClr val="tx2"/>
          </a:solidFill>
          <a:latin typeface="+mn-lt"/>
          <a:ea typeface="+mn-ea"/>
          <a:cs typeface="+mn-cs"/>
        </a:defRPr>
      </a:lvl5pPr>
      <a:lvl6pPr marL="8985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‒"/>
        <a:tabLst/>
        <a:defRPr lang="en-US" sz="1000" b="0" kern="1200" dirty="0">
          <a:solidFill>
            <a:schemeClr val="tx2"/>
          </a:solidFill>
          <a:latin typeface="+mn-lt"/>
          <a:ea typeface="+mn-ea"/>
          <a:cs typeface="+mn-cs"/>
        </a:defRPr>
      </a:lvl6pPr>
      <a:lvl7pPr marL="8985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‒"/>
        <a:tabLst/>
        <a:defRPr sz="1050" kern="1200">
          <a:solidFill>
            <a:schemeClr val="tx2"/>
          </a:solidFill>
          <a:latin typeface="+mn-lt"/>
          <a:ea typeface="+mn-ea"/>
          <a:cs typeface="+mn-cs"/>
        </a:defRPr>
      </a:lvl7pPr>
      <a:lvl8pPr marL="8985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‒"/>
        <a:tabLst/>
        <a:defRPr sz="1050" kern="1200">
          <a:solidFill>
            <a:schemeClr val="tx2"/>
          </a:solidFill>
          <a:latin typeface="+mn-lt"/>
          <a:ea typeface="+mn-ea"/>
          <a:cs typeface="+mn-cs"/>
        </a:defRPr>
      </a:lvl8pPr>
      <a:lvl9pPr marL="898525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Pct val="100000"/>
        <a:buFont typeface="Arial" panose="020B0604020202020204" pitchFamily="34" charset="0"/>
        <a:buChar char="‒"/>
        <a:tabLst/>
        <a:defRPr sz="105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480" userDrawn="1">
          <p15:clr>
            <a:srgbClr val="F26B43"/>
          </p15:clr>
        </p15:guide>
        <p15:guide id="4" pos="944" userDrawn="1">
          <p15:clr>
            <a:srgbClr val="F26B43"/>
          </p15:clr>
        </p15:guide>
        <p15:guide id="5" pos="1048" userDrawn="1">
          <p15:clr>
            <a:srgbClr val="F26B43"/>
          </p15:clr>
        </p15:guide>
        <p15:guide id="6" pos="1512" userDrawn="1">
          <p15:clr>
            <a:srgbClr val="F26B43"/>
          </p15:clr>
        </p15:guide>
        <p15:guide id="7" pos="1616" userDrawn="1">
          <p15:clr>
            <a:srgbClr val="F26B43"/>
          </p15:clr>
        </p15:guide>
        <p15:guide id="8" pos="2080" userDrawn="1">
          <p15:clr>
            <a:srgbClr val="F26B43"/>
          </p15:clr>
        </p15:guide>
        <p15:guide id="9" pos="2184" userDrawn="1">
          <p15:clr>
            <a:srgbClr val="F26B43"/>
          </p15:clr>
        </p15:guide>
        <p15:guide id="10" pos="2648" userDrawn="1">
          <p15:clr>
            <a:srgbClr val="F26B43"/>
          </p15:clr>
        </p15:guide>
        <p15:guide id="11" pos="2752" userDrawn="1">
          <p15:clr>
            <a:srgbClr val="F26B43"/>
          </p15:clr>
        </p15:guide>
        <p15:guide id="12" pos="3216" userDrawn="1">
          <p15:clr>
            <a:srgbClr val="F26B43"/>
          </p15:clr>
        </p15:guide>
        <p15:guide id="13" pos="3320" userDrawn="1">
          <p15:clr>
            <a:srgbClr val="F26B43"/>
          </p15:clr>
        </p15:guide>
        <p15:guide id="14" pos="3792" userDrawn="1">
          <p15:clr>
            <a:srgbClr val="F26B43"/>
          </p15:clr>
        </p15:guide>
        <p15:guide id="15" pos="3896" userDrawn="1">
          <p15:clr>
            <a:srgbClr val="F26B43"/>
          </p15:clr>
        </p15:guide>
        <p15:guide id="16" pos="4360" userDrawn="1">
          <p15:clr>
            <a:srgbClr val="F26B43"/>
          </p15:clr>
        </p15:guide>
        <p15:guide id="17" pos="4464" userDrawn="1">
          <p15:clr>
            <a:srgbClr val="F26B43"/>
          </p15:clr>
        </p15:guide>
        <p15:guide id="18" pos="4928" userDrawn="1">
          <p15:clr>
            <a:srgbClr val="F26B43"/>
          </p15:clr>
        </p15:guide>
        <p15:guide id="19" pos="5032" userDrawn="1">
          <p15:clr>
            <a:srgbClr val="F26B43"/>
          </p15:clr>
        </p15:guide>
        <p15:guide id="20" pos="5496" userDrawn="1">
          <p15:clr>
            <a:srgbClr val="F26B43"/>
          </p15:clr>
        </p15:guide>
        <p15:guide id="21" pos="5600" userDrawn="1">
          <p15:clr>
            <a:srgbClr val="F26B43"/>
          </p15:clr>
        </p15:guide>
        <p15:guide id="22" pos="6064" userDrawn="1">
          <p15:clr>
            <a:srgbClr val="F26B43"/>
          </p15:clr>
        </p15:guide>
        <p15:guide id="23" pos="6168" userDrawn="1">
          <p15:clr>
            <a:srgbClr val="F26B43"/>
          </p15:clr>
        </p15:guide>
        <p15:guide id="24" pos="6632" userDrawn="1">
          <p15:clr>
            <a:srgbClr val="F26B43"/>
          </p15:clr>
        </p15:guide>
        <p15:guide id="25" pos="6736" userDrawn="1">
          <p15:clr>
            <a:srgbClr val="F26B43"/>
          </p15:clr>
        </p15:guide>
        <p15:guide id="26" pos="7200" userDrawn="1">
          <p15:clr>
            <a:srgbClr val="F26B43"/>
          </p15:clr>
        </p15:guide>
        <p15:guide id="27" orient="horz" userDrawn="1">
          <p15:clr>
            <a:srgbClr val="F26B43"/>
          </p15:clr>
        </p15:guide>
        <p15:guide id="28" orient="horz" pos="4315" userDrawn="1">
          <p15:clr>
            <a:srgbClr val="F26B43"/>
          </p15:clr>
        </p15:guide>
        <p15:guide id="29" orient="horz" pos="320" userDrawn="1">
          <p15:clr>
            <a:srgbClr val="F26B43"/>
          </p15:clr>
        </p15:guide>
        <p15:guide id="30" orient="horz" pos="576" userDrawn="1">
          <p15:clr>
            <a:srgbClr val="F26B43"/>
          </p15:clr>
        </p15:guide>
        <p15:guide id="31" orient="horz" pos="680" userDrawn="1">
          <p15:clr>
            <a:srgbClr val="F26B43"/>
          </p15:clr>
        </p15:guide>
        <p15:guide id="32" orient="horz" pos="944" userDrawn="1">
          <p15:clr>
            <a:srgbClr val="F26B43"/>
          </p15:clr>
        </p15:guide>
        <p15:guide id="33" orient="horz" pos="1048" userDrawn="1">
          <p15:clr>
            <a:srgbClr val="F26B43"/>
          </p15:clr>
        </p15:guide>
        <p15:guide id="34" orient="horz" pos="1321" userDrawn="1">
          <p15:clr>
            <a:srgbClr val="F26B43"/>
          </p15:clr>
        </p15:guide>
        <p15:guide id="35" orient="horz" pos="1408" userDrawn="1">
          <p15:clr>
            <a:srgbClr val="F26B43"/>
          </p15:clr>
        </p15:guide>
        <p15:guide id="36" orient="horz" pos="1664" userDrawn="1">
          <p15:clr>
            <a:srgbClr val="F26B43"/>
          </p15:clr>
        </p15:guide>
        <p15:guide id="37" orient="horz" pos="1768" userDrawn="1">
          <p15:clr>
            <a:srgbClr val="F26B43"/>
          </p15:clr>
        </p15:guide>
        <p15:guide id="38" orient="horz" pos="2032" userDrawn="1">
          <p15:clr>
            <a:srgbClr val="F26B43"/>
          </p15:clr>
        </p15:guide>
        <p15:guide id="39" orient="horz" pos="2136" userDrawn="1">
          <p15:clr>
            <a:srgbClr val="F26B43"/>
          </p15:clr>
        </p15:guide>
        <p15:guide id="40" orient="horz" pos="2392" userDrawn="1">
          <p15:clr>
            <a:srgbClr val="F26B43"/>
          </p15:clr>
        </p15:guide>
        <p15:guide id="41" orient="horz" pos="2496" userDrawn="1">
          <p15:clr>
            <a:srgbClr val="F26B43"/>
          </p15:clr>
        </p15:guide>
        <p15:guide id="42" orient="horz" pos="2752" userDrawn="1">
          <p15:clr>
            <a:srgbClr val="F26B43"/>
          </p15:clr>
        </p15:guide>
        <p15:guide id="43" orient="horz" pos="2856" userDrawn="1">
          <p15:clr>
            <a:srgbClr val="F26B43"/>
          </p15:clr>
        </p15:guide>
        <p15:guide id="44" orient="horz" pos="3112" userDrawn="1">
          <p15:clr>
            <a:srgbClr val="F26B43"/>
          </p15:clr>
        </p15:guide>
        <p15:guide id="45" orient="horz" pos="3216" userDrawn="1">
          <p15:clr>
            <a:srgbClr val="F26B43"/>
          </p15:clr>
        </p15:guide>
        <p15:guide id="46" orient="horz" pos="3480" userDrawn="1">
          <p15:clr>
            <a:srgbClr val="F26B43"/>
          </p15:clr>
        </p15:guide>
        <p15:guide id="47" orient="horz" pos="3584" userDrawn="1">
          <p15:clr>
            <a:srgbClr val="F26B43"/>
          </p15:clr>
        </p15:guide>
        <p15:guide id="48" orient="horz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62.xml"/><Relationship Id="rId1" Type="http://schemas.openxmlformats.org/officeDocument/2006/relationships/tags" Target="../tags/tag16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8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7.png"/><Relationship Id="rId5" Type="http://schemas.openxmlformats.org/officeDocument/2006/relationships/image" Target="../media/image82.png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13" Type="http://schemas.openxmlformats.org/officeDocument/2006/relationships/image" Target="../media/image94.png"/><Relationship Id="rId18" Type="http://schemas.openxmlformats.org/officeDocument/2006/relationships/image" Target="../media/image99.png"/><Relationship Id="rId26" Type="http://schemas.openxmlformats.org/officeDocument/2006/relationships/image" Target="../media/image107.png"/><Relationship Id="rId39" Type="http://schemas.openxmlformats.org/officeDocument/2006/relationships/image" Target="../media/image120.png"/><Relationship Id="rId21" Type="http://schemas.openxmlformats.org/officeDocument/2006/relationships/image" Target="../media/image102.png"/><Relationship Id="rId34" Type="http://schemas.openxmlformats.org/officeDocument/2006/relationships/image" Target="../media/image115.png"/><Relationship Id="rId42" Type="http://schemas.openxmlformats.org/officeDocument/2006/relationships/image" Target="../media/image123.png"/><Relationship Id="rId47" Type="http://schemas.openxmlformats.org/officeDocument/2006/relationships/image" Target="../media/image128.png"/><Relationship Id="rId7" Type="http://schemas.openxmlformats.org/officeDocument/2006/relationships/image" Target="../media/image88.png"/><Relationship Id="rId2" Type="http://schemas.openxmlformats.org/officeDocument/2006/relationships/image" Target="../media/image83.png"/><Relationship Id="rId16" Type="http://schemas.openxmlformats.org/officeDocument/2006/relationships/image" Target="../media/image97.png"/><Relationship Id="rId29" Type="http://schemas.openxmlformats.org/officeDocument/2006/relationships/image" Target="../media/image110.png"/><Relationship Id="rId11" Type="http://schemas.openxmlformats.org/officeDocument/2006/relationships/image" Target="../media/image92.png"/><Relationship Id="rId24" Type="http://schemas.openxmlformats.org/officeDocument/2006/relationships/image" Target="../media/image105.png"/><Relationship Id="rId32" Type="http://schemas.openxmlformats.org/officeDocument/2006/relationships/image" Target="../media/image113.png"/><Relationship Id="rId37" Type="http://schemas.openxmlformats.org/officeDocument/2006/relationships/image" Target="../media/image118.png"/><Relationship Id="rId40" Type="http://schemas.openxmlformats.org/officeDocument/2006/relationships/image" Target="../media/image121.png"/><Relationship Id="rId45" Type="http://schemas.openxmlformats.org/officeDocument/2006/relationships/image" Target="../media/image126.png"/><Relationship Id="rId5" Type="http://schemas.openxmlformats.org/officeDocument/2006/relationships/image" Target="../media/image86.png"/><Relationship Id="rId15" Type="http://schemas.openxmlformats.org/officeDocument/2006/relationships/image" Target="../media/image96.png"/><Relationship Id="rId23" Type="http://schemas.openxmlformats.org/officeDocument/2006/relationships/image" Target="../media/image104.png"/><Relationship Id="rId28" Type="http://schemas.openxmlformats.org/officeDocument/2006/relationships/image" Target="../media/image109.png"/><Relationship Id="rId36" Type="http://schemas.openxmlformats.org/officeDocument/2006/relationships/image" Target="../media/image117.png"/><Relationship Id="rId49" Type="http://schemas.openxmlformats.org/officeDocument/2006/relationships/image" Target="../media/image130.png"/><Relationship Id="rId10" Type="http://schemas.openxmlformats.org/officeDocument/2006/relationships/image" Target="../media/image91.png"/><Relationship Id="rId19" Type="http://schemas.openxmlformats.org/officeDocument/2006/relationships/image" Target="../media/image100.png"/><Relationship Id="rId31" Type="http://schemas.openxmlformats.org/officeDocument/2006/relationships/image" Target="../media/image112.png"/><Relationship Id="rId44" Type="http://schemas.openxmlformats.org/officeDocument/2006/relationships/image" Target="../media/image125.png"/><Relationship Id="rId4" Type="http://schemas.openxmlformats.org/officeDocument/2006/relationships/image" Target="../media/image85.png"/><Relationship Id="rId9" Type="http://schemas.openxmlformats.org/officeDocument/2006/relationships/image" Target="../media/image90.png"/><Relationship Id="rId14" Type="http://schemas.openxmlformats.org/officeDocument/2006/relationships/image" Target="../media/image95.png"/><Relationship Id="rId22" Type="http://schemas.openxmlformats.org/officeDocument/2006/relationships/image" Target="../media/image103.png"/><Relationship Id="rId27" Type="http://schemas.openxmlformats.org/officeDocument/2006/relationships/image" Target="../media/image108.png"/><Relationship Id="rId30" Type="http://schemas.openxmlformats.org/officeDocument/2006/relationships/image" Target="../media/image111.png"/><Relationship Id="rId35" Type="http://schemas.openxmlformats.org/officeDocument/2006/relationships/image" Target="../media/image116.png"/><Relationship Id="rId43" Type="http://schemas.openxmlformats.org/officeDocument/2006/relationships/image" Target="../media/image124.png"/><Relationship Id="rId48" Type="http://schemas.openxmlformats.org/officeDocument/2006/relationships/image" Target="../media/image129.png"/><Relationship Id="rId8" Type="http://schemas.openxmlformats.org/officeDocument/2006/relationships/image" Target="../media/image89.png"/><Relationship Id="rId3" Type="http://schemas.openxmlformats.org/officeDocument/2006/relationships/image" Target="../media/image84.png"/><Relationship Id="rId12" Type="http://schemas.openxmlformats.org/officeDocument/2006/relationships/image" Target="../media/image93.png"/><Relationship Id="rId17" Type="http://schemas.openxmlformats.org/officeDocument/2006/relationships/image" Target="../media/image98.png"/><Relationship Id="rId25" Type="http://schemas.openxmlformats.org/officeDocument/2006/relationships/image" Target="../media/image106.png"/><Relationship Id="rId33" Type="http://schemas.openxmlformats.org/officeDocument/2006/relationships/image" Target="../media/image114.png"/><Relationship Id="rId38" Type="http://schemas.openxmlformats.org/officeDocument/2006/relationships/image" Target="../media/image119.png"/><Relationship Id="rId46" Type="http://schemas.openxmlformats.org/officeDocument/2006/relationships/image" Target="../media/image127.png"/><Relationship Id="rId20" Type="http://schemas.openxmlformats.org/officeDocument/2006/relationships/image" Target="../media/image101.png"/><Relationship Id="rId41" Type="http://schemas.openxmlformats.org/officeDocument/2006/relationships/image" Target="../media/image122.png"/><Relationship Id="rId1" Type="http://schemas.openxmlformats.org/officeDocument/2006/relationships/slideLayout" Target="../slideLayouts/slideLayout55.xml"/><Relationship Id="rId6" Type="http://schemas.openxmlformats.org/officeDocument/2006/relationships/image" Target="../media/image8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image" Target="../media/image134.png"/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33.png"/><Relationship Id="rId4" Type="http://schemas.openxmlformats.org/officeDocument/2006/relationships/image" Target="../media/image13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136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137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png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0673310-4718-9AE9-5378-3F1BF0FAB51F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en-US" dirty="0"/>
              <a:t>Ben Faraone</a:t>
            </a:r>
          </a:p>
          <a:p>
            <a:r>
              <a:rPr lang="en-US" dirty="0"/>
              <a:t>CTO/CISO</a:t>
            </a:r>
          </a:p>
          <a:p>
            <a:endParaRPr lang="en-US" dirty="0"/>
          </a:p>
          <a:p>
            <a:r>
              <a:rPr lang="en-US" dirty="0"/>
              <a:t>April 25, 2024</a:t>
            </a:r>
          </a:p>
        </p:txBody>
      </p:sp>
      <p:pic>
        <p:nvPicPr>
          <p:cNvPr id="8" name="Picture Placeholder 7" descr="A picture containing night sky, ocean floor&#10;&#10;Description automatically generated">
            <a:extLst>
              <a:ext uri="{FF2B5EF4-FFF2-40B4-BE49-F238E27FC236}">
                <a16:creationId xmlns:a16="http://schemas.microsoft.com/office/drawing/2014/main" id="{442DF778-E162-3C13-3F37-1FFC48E8E50F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 rotWithShape="1">
          <a:blip r:embed="rId2"/>
          <a:srcRect l="50585" t="11306" b="6491"/>
          <a:stretch/>
        </p:blipFill>
        <p:spPr>
          <a:xfrm>
            <a:off x="6019800" y="0"/>
            <a:ext cx="6172199" cy="6858000"/>
          </a:xfrm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66284655-A539-A363-4F3C-B9DB311015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545" y="2312416"/>
            <a:ext cx="5121656" cy="1363472"/>
          </a:xfrm>
        </p:spPr>
        <p:txBody>
          <a:bodyPr/>
          <a:lstStyle/>
          <a:p>
            <a:r>
              <a:rPr lang="en-US" dirty="0"/>
              <a:t>2024 Corporate Overview</a:t>
            </a:r>
          </a:p>
        </p:txBody>
      </p:sp>
    </p:spTree>
    <p:extLst>
      <p:ext uri="{BB962C8B-B14F-4D97-AF65-F5344CB8AC3E}">
        <p14:creationId xmlns:p14="http://schemas.microsoft.com/office/powerpoint/2010/main" val="1681060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custDataLst>
      <p:tags r:id="rId1"/>
    </p:custDataLst>
    <p:extLst>
      <p:ext uri="{BB962C8B-B14F-4D97-AF65-F5344CB8AC3E}">
        <p14:creationId xmlns:p14="http://schemas.microsoft.com/office/powerpoint/2010/main" val="3901244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>
          <a:blip r:embed="rId3"/>
          <a:srcRect l="18479" t="41559" r="1217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" name="Picture 3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>
          <a:xfrm>
            <a:off x="10771860" y="6172200"/>
            <a:ext cx="1164985" cy="374913"/>
          </a:xfrm>
          <a:prstGeom prst="rect">
            <a:avLst/>
          </a:prstGeom>
        </p:spPr>
      </p:pic>
      <p:sp>
        <p:nvSpPr>
          <p:cNvPr id="4" name="AutoShape 4"/>
          <p:cNvSpPr/>
          <p:nvPr/>
        </p:nvSpPr>
        <p:spPr>
          <a:xfrm>
            <a:off x="2294444" y="271239"/>
            <a:ext cx="7620751" cy="2671043"/>
          </a:xfrm>
          <a:prstGeom prst="rect">
            <a:avLst/>
          </a:prstGeom>
          <a:solidFill>
            <a:srgbClr val="000000">
              <a:alpha val="49804"/>
            </a:srgbClr>
          </a:solidFill>
        </p:spPr>
        <p:txBody>
          <a:bodyPr/>
          <a:lstStyle/>
          <a:p>
            <a:endParaRPr lang="en-US" sz="1200"/>
          </a:p>
        </p:txBody>
      </p:sp>
      <p:grpSp>
        <p:nvGrpSpPr>
          <p:cNvPr id="5" name="Group 5"/>
          <p:cNvGrpSpPr/>
          <p:nvPr/>
        </p:nvGrpSpPr>
        <p:grpSpPr>
          <a:xfrm rot="5400000">
            <a:off x="4769299" y="-2203615"/>
            <a:ext cx="2671043" cy="7620751"/>
            <a:chOff x="0" y="0"/>
            <a:chExt cx="3100876" cy="8847106"/>
          </a:xfrm>
        </p:grpSpPr>
        <p:sp>
          <p:nvSpPr>
            <p:cNvPr id="6" name="Freeform 6"/>
            <p:cNvSpPr/>
            <p:nvPr/>
          </p:nvSpPr>
          <p:spPr>
            <a:xfrm>
              <a:off x="0" y="0"/>
              <a:ext cx="3100876" cy="8847106"/>
            </a:xfrm>
            <a:custGeom>
              <a:avLst/>
              <a:gdLst/>
              <a:ahLst/>
              <a:cxnLst/>
              <a:rect l="l" t="t" r="r" b="b"/>
              <a:pathLst>
                <a:path w="3100876" h="8847106">
                  <a:moveTo>
                    <a:pt x="3100876" y="279400"/>
                  </a:moveTo>
                  <a:lnTo>
                    <a:pt x="3100876" y="0"/>
                  </a:lnTo>
                  <a:lnTo>
                    <a:pt x="0" y="0"/>
                  </a:lnTo>
                  <a:lnTo>
                    <a:pt x="0" y="8847106"/>
                  </a:lnTo>
                  <a:lnTo>
                    <a:pt x="3100876" y="8847106"/>
                  </a:lnTo>
                  <a:lnTo>
                    <a:pt x="3100876" y="279400"/>
                  </a:lnTo>
                  <a:close/>
                  <a:moveTo>
                    <a:pt x="3022136" y="279400"/>
                  </a:moveTo>
                  <a:lnTo>
                    <a:pt x="3022136" y="8768366"/>
                  </a:lnTo>
                  <a:lnTo>
                    <a:pt x="78740" y="8768366"/>
                  </a:lnTo>
                  <a:lnTo>
                    <a:pt x="78740" y="78740"/>
                  </a:lnTo>
                  <a:lnTo>
                    <a:pt x="3022136" y="78740"/>
                  </a:lnTo>
                  <a:lnTo>
                    <a:pt x="3022136" y="279400"/>
                  </a:lnTo>
                  <a:close/>
                </a:path>
              </a:pathLst>
            </a:custGeom>
            <a:solidFill>
              <a:srgbClr val="55B74E"/>
            </a:solid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7" name="Group 7"/>
          <p:cNvGrpSpPr/>
          <p:nvPr/>
        </p:nvGrpSpPr>
        <p:grpSpPr>
          <a:xfrm>
            <a:off x="2698628" y="404528"/>
            <a:ext cx="6794746" cy="2478854"/>
            <a:chOff x="0" y="-9525"/>
            <a:chExt cx="13589492" cy="4957708"/>
          </a:xfrm>
        </p:grpSpPr>
        <p:sp>
          <p:nvSpPr>
            <p:cNvPr id="8" name="TextBox 8"/>
            <p:cNvSpPr txBox="1"/>
            <p:nvPr/>
          </p:nvSpPr>
          <p:spPr>
            <a:xfrm>
              <a:off x="176722" y="-9525"/>
              <a:ext cx="13236052" cy="112851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400"/>
                </a:lnSpc>
              </a:pPr>
              <a:r>
                <a:rPr lang="en-US" sz="3667" spc="183" dirty="0">
                  <a:solidFill>
                    <a:srgbClr val="ECEFEB"/>
                  </a:solidFill>
                  <a:latin typeface="Roboto Condensed Bold"/>
                </a:rPr>
                <a:t>WHO WE ARE</a:t>
              </a:r>
            </a:p>
          </p:txBody>
        </p:sp>
        <p:sp>
          <p:nvSpPr>
            <p:cNvPr id="9" name="TextBox 9"/>
            <p:cNvSpPr txBox="1"/>
            <p:nvPr/>
          </p:nvSpPr>
          <p:spPr>
            <a:xfrm>
              <a:off x="0" y="1295901"/>
              <a:ext cx="13589492" cy="3652282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416"/>
                </a:lnSpc>
              </a:pPr>
              <a:r>
                <a:rPr lang="en-US" sz="1666" spc="166" dirty="0">
                  <a:solidFill>
                    <a:srgbClr val="ECEFEB"/>
                  </a:solidFill>
                  <a:latin typeface="Aileron Regular"/>
                </a:rPr>
                <a:t>WE WERE THE CUSTOMERS. </a:t>
              </a:r>
            </a:p>
            <a:p>
              <a:pPr algn="ctr">
                <a:lnSpc>
                  <a:spcPts val="2416"/>
                </a:lnSpc>
              </a:pPr>
              <a:r>
                <a:rPr lang="en-US" sz="1666" spc="166" dirty="0">
                  <a:solidFill>
                    <a:srgbClr val="ECEFEB"/>
                  </a:solidFill>
                  <a:latin typeface="Aileron Regular"/>
                </a:rPr>
                <a:t>WE'VE WALKED THE MILE IN YOUR SHOES.</a:t>
              </a:r>
            </a:p>
            <a:p>
              <a:pPr algn="ctr">
                <a:lnSpc>
                  <a:spcPts val="2417"/>
                </a:lnSpc>
              </a:pPr>
              <a:r>
                <a:rPr lang="en-US" sz="1667" spc="167" dirty="0">
                  <a:solidFill>
                    <a:srgbClr val="ECEFEB"/>
                  </a:solidFill>
                  <a:latin typeface="Aileron Regular Bold"/>
                </a:rPr>
                <a:t>THAT </a:t>
              </a:r>
              <a:r>
                <a:rPr lang="en-US" sz="1667" spc="167" dirty="0">
                  <a:solidFill>
                    <a:srgbClr val="ECEFEB"/>
                  </a:solidFill>
                  <a:latin typeface="Aileron Regular"/>
                </a:rPr>
                <a:t>IS WHAT MAKES US YOUR TRUSTED PARTNER.</a:t>
              </a:r>
            </a:p>
            <a:p>
              <a:pPr algn="ctr">
                <a:lnSpc>
                  <a:spcPts val="2417"/>
                </a:lnSpc>
              </a:pPr>
              <a:endParaRPr lang="en-US" sz="1667" spc="167" dirty="0">
                <a:solidFill>
                  <a:srgbClr val="ECEFEB"/>
                </a:solidFill>
                <a:latin typeface="Aileron Regular"/>
              </a:endParaRPr>
            </a:p>
            <a:p>
              <a:pPr algn="ctr">
                <a:lnSpc>
                  <a:spcPts val="2417"/>
                </a:lnSpc>
              </a:pPr>
              <a:r>
                <a:rPr lang="en-US" sz="1667" spc="167" dirty="0">
                  <a:solidFill>
                    <a:srgbClr val="ECEFEB"/>
                  </a:solidFill>
                  <a:latin typeface="Aileron Regular"/>
                </a:rPr>
                <a:t>FOUNDED: 2008</a:t>
              </a:r>
            </a:p>
            <a:p>
              <a:pPr algn="ctr">
                <a:lnSpc>
                  <a:spcPts val="2417"/>
                </a:lnSpc>
              </a:pPr>
              <a:r>
                <a:rPr lang="en-US" sz="1667" spc="167" dirty="0">
                  <a:solidFill>
                    <a:srgbClr val="ECEFEB"/>
                  </a:solidFill>
                  <a:latin typeface="Aileron Regular"/>
                </a:rPr>
                <a:t>HEADQUARTERS:  ELLICOTT CITY, MD</a:t>
              </a:r>
            </a:p>
          </p:txBody>
        </p:sp>
      </p:grpSp>
      <p:sp>
        <p:nvSpPr>
          <p:cNvPr id="10" name="AutoShape 10"/>
          <p:cNvSpPr/>
          <p:nvPr/>
        </p:nvSpPr>
        <p:spPr>
          <a:xfrm>
            <a:off x="2285625" y="3688614"/>
            <a:ext cx="7620751" cy="2671043"/>
          </a:xfrm>
          <a:prstGeom prst="rect">
            <a:avLst/>
          </a:prstGeom>
          <a:solidFill>
            <a:srgbClr val="000000">
              <a:alpha val="49804"/>
            </a:srgbClr>
          </a:solidFill>
        </p:spPr>
        <p:txBody>
          <a:bodyPr/>
          <a:lstStyle/>
          <a:p>
            <a:endParaRPr lang="en-US" sz="1200"/>
          </a:p>
        </p:txBody>
      </p:sp>
      <p:grpSp>
        <p:nvGrpSpPr>
          <p:cNvPr id="11" name="Group 11"/>
          <p:cNvGrpSpPr/>
          <p:nvPr/>
        </p:nvGrpSpPr>
        <p:grpSpPr>
          <a:xfrm rot="5400000">
            <a:off x="4760479" y="1213760"/>
            <a:ext cx="2671043" cy="7620751"/>
            <a:chOff x="0" y="0"/>
            <a:chExt cx="3100876" cy="8847106"/>
          </a:xfrm>
        </p:grpSpPr>
        <p:sp>
          <p:nvSpPr>
            <p:cNvPr id="12" name="Freeform 12"/>
            <p:cNvSpPr/>
            <p:nvPr/>
          </p:nvSpPr>
          <p:spPr>
            <a:xfrm>
              <a:off x="0" y="0"/>
              <a:ext cx="3100876" cy="8847106"/>
            </a:xfrm>
            <a:custGeom>
              <a:avLst/>
              <a:gdLst/>
              <a:ahLst/>
              <a:cxnLst/>
              <a:rect l="l" t="t" r="r" b="b"/>
              <a:pathLst>
                <a:path w="3100876" h="8847106">
                  <a:moveTo>
                    <a:pt x="3100876" y="279400"/>
                  </a:moveTo>
                  <a:lnTo>
                    <a:pt x="3100876" y="0"/>
                  </a:lnTo>
                  <a:lnTo>
                    <a:pt x="0" y="0"/>
                  </a:lnTo>
                  <a:lnTo>
                    <a:pt x="0" y="8847106"/>
                  </a:lnTo>
                  <a:lnTo>
                    <a:pt x="3100876" y="8847106"/>
                  </a:lnTo>
                  <a:lnTo>
                    <a:pt x="3100876" y="279400"/>
                  </a:lnTo>
                  <a:close/>
                  <a:moveTo>
                    <a:pt x="3022136" y="279400"/>
                  </a:moveTo>
                  <a:lnTo>
                    <a:pt x="3022136" y="8768366"/>
                  </a:lnTo>
                  <a:lnTo>
                    <a:pt x="78740" y="8768366"/>
                  </a:lnTo>
                  <a:lnTo>
                    <a:pt x="78740" y="78740"/>
                  </a:lnTo>
                  <a:lnTo>
                    <a:pt x="3022136" y="78740"/>
                  </a:lnTo>
                  <a:lnTo>
                    <a:pt x="3022136" y="279400"/>
                  </a:lnTo>
                  <a:close/>
                </a:path>
              </a:pathLst>
            </a:custGeom>
            <a:solidFill>
              <a:srgbClr val="55B74E"/>
            </a:solid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13" name="Group 13"/>
          <p:cNvGrpSpPr/>
          <p:nvPr/>
        </p:nvGrpSpPr>
        <p:grpSpPr>
          <a:xfrm>
            <a:off x="2513419" y="4095587"/>
            <a:ext cx="7182801" cy="2163383"/>
            <a:chOff x="0" y="-9525"/>
            <a:chExt cx="14365603" cy="4326766"/>
          </a:xfrm>
        </p:grpSpPr>
        <p:sp>
          <p:nvSpPr>
            <p:cNvPr id="14" name="TextBox 14"/>
            <p:cNvSpPr txBox="1"/>
            <p:nvPr/>
          </p:nvSpPr>
          <p:spPr>
            <a:xfrm>
              <a:off x="186812" y="-9525"/>
              <a:ext cx="13991977" cy="112851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4400"/>
                </a:lnSpc>
              </a:pPr>
              <a:r>
                <a:rPr lang="en-US" sz="3667" spc="183">
                  <a:solidFill>
                    <a:srgbClr val="ECEFEB"/>
                  </a:solidFill>
                  <a:latin typeface="Roboto Condensed Bold"/>
                </a:rPr>
                <a:t>WHAT WE DO</a:t>
              </a:r>
            </a:p>
          </p:txBody>
        </p:sp>
        <p:sp>
          <p:nvSpPr>
            <p:cNvPr id="15" name="TextBox 15"/>
            <p:cNvSpPr txBox="1"/>
            <p:nvPr/>
          </p:nvSpPr>
          <p:spPr>
            <a:xfrm>
              <a:off x="0" y="1295901"/>
              <a:ext cx="14365603" cy="3021340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algn="ctr">
                <a:lnSpc>
                  <a:spcPts val="2416"/>
                </a:lnSpc>
              </a:pPr>
              <a:r>
                <a:rPr lang="en-US" sz="1666" spc="166" dirty="0">
                  <a:solidFill>
                    <a:srgbClr val="ECEFEB"/>
                  </a:solidFill>
                  <a:latin typeface="Aileron Regular"/>
                </a:rPr>
                <a:t>WE LIVE BY A "CUSTOMER FIRST" MENTALITY. </a:t>
              </a:r>
            </a:p>
            <a:p>
              <a:pPr algn="ctr">
                <a:lnSpc>
                  <a:spcPts val="2416"/>
                </a:lnSpc>
              </a:pPr>
              <a:r>
                <a:rPr lang="en-US" sz="1666" spc="166" dirty="0">
                  <a:solidFill>
                    <a:srgbClr val="ECEFEB"/>
                  </a:solidFill>
                  <a:latin typeface="Aileron Regular"/>
                </a:rPr>
                <a:t>WE STRIVE TO DELIVER NOTHING SHORT OF IT EXCELLENCE.</a:t>
              </a:r>
            </a:p>
            <a:p>
              <a:pPr algn="ctr">
                <a:lnSpc>
                  <a:spcPts val="2416"/>
                </a:lnSpc>
              </a:pPr>
              <a:endParaRPr lang="en-US" sz="1666" spc="166" dirty="0">
                <a:solidFill>
                  <a:srgbClr val="ECEFEB"/>
                </a:solidFill>
                <a:latin typeface="Aileron Regular"/>
              </a:endParaRPr>
            </a:p>
            <a:p>
              <a:pPr algn="ctr">
                <a:lnSpc>
                  <a:spcPts val="2417"/>
                </a:lnSpc>
              </a:pPr>
              <a:r>
                <a:rPr lang="en-US" sz="1667" spc="167" dirty="0">
                  <a:solidFill>
                    <a:srgbClr val="ECEFEB"/>
                  </a:solidFill>
                  <a:latin typeface="Aileron Regular Bold"/>
                </a:rPr>
                <a:t>OUR GOAL:</a:t>
              </a:r>
              <a:r>
                <a:rPr lang="en-US" sz="1667" spc="167" dirty="0">
                  <a:solidFill>
                    <a:srgbClr val="ECEFEB"/>
                  </a:solidFill>
                  <a:latin typeface="Aileron Regular"/>
                </a:rPr>
                <a:t> YOUR VISION, DELIVERED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93447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lowchart: Connector 11">
            <a:extLst>
              <a:ext uri="{FF2B5EF4-FFF2-40B4-BE49-F238E27FC236}">
                <a16:creationId xmlns:a16="http://schemas.microsoft.com/office/drawing/2014/main" id="{F6BAF940-DD9A-3933-47A9-6668ACE64877}"/>
              </a:ext>
            </a:extLst>
          </p:cNvPr>
          <p:cNvSpPr/>
          <p:nvPr/>
        </p:nvSpPr>
        <p:spPr>
          <a:xfrm>
            <a:off x="6913924" y="1003916"/>
            <a:ext cx="1120138" cy="1135623"/>
          </a:xfrm>
          <a:prstGeom prst="flowChartConnector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spc="-10" err="1">
              <a:solidFill>
                <a:schemeClr val="tx2"/>
              </a:solidFill>
            </a:endParaRPr>
          </a:p>
        </p:txBody>
      </p:sp>
      <p:sp>
        <p:nvSpPr>
          <p:cNvPr id="11" name="Flowchart: Connector 10">
            <a:extLst>
              <a:ext uri="{FF2B5EF4-FFF2-40B4-BE49-F238E27FC236}">
                <a16:creationId xmlns:a16="http://schemas.microsoft.com/office/drawing/2014/main" id="{37B3B08B-100D-D161-6431-533B025EBF73}"/>
              </a:ext>
            </a:extLst>
          </p:cNvPr>
          <p:cNvSpPr/>
          <p:nvPr/>
        </p:nvSpPr>
        <p:spPr>
          <a:xfrm>
            <a:off x="4199837" y="1003916"/>
            <a:ext cx="1120138" cy="1135623"/>
          </a:xfrm>
          <a:prstGeom prst="flowChartConnector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spc="-10" err="1">
              <a:solidFill>
                <a:schemeClr val="tx2"/>
              </a:solidFill>
            </a:endParaRPr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8AAF887A-6EAA-097B-1482-A2EA404AEC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125982"/>
            <a:ext cx="10668000" cy="461665"/>
          </a:xfrm>
        </p:spPr>
        <p:txBody>
          <a:bodyPr/>
          <a:lstStyle/>
          <a:p>
            <a:pPr algn="ctr"/>
            <a:r>
              <a:rPr lang="en-US"/>
              <a:t>Our Focus</a:t>
            </a:r>
          </a:p>
        </p:txBody>
      </p:sp>
      <p:sp>
        <p:nvSpPr>
          <p:cNvPr id="10" name="Flowchart: Connector 9">
            <a:extLst>
              <a:ext uri="{FF2B5EF4-FFF2-40B4-BE49-F238E27FC236}">
                <a16:creationId xmlns:a16="http://schemas.microsoft.com/office/drawing/2014/main" id="{F9AE4C4C-5C0B-97AD-9705-DCD640064221}"/>
              </a:ext>
            </a:extLst>
          </p:cNvPr>
          <p:cNvSpPr/>
          <p:nvPr/>
        </p:nvSpPr>
        <p:spPr>
          <a:xfrm>
            <a:off x="1595352" y="977649"/>
            <a:ext cx="1120138" cy="1135623"/>
          </a:xfrm>
          <a:prstGeom prst="flowChartConnector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spc="-10" err="1">
              <a:solidFill>
                <a:schemeClr val="tx2"/>
              </a:solidFill>
            </a:endParaRPr>
          </a:p>
        </p:txBody>
      </p:sp>
      <p:sp>
        <p:nvSpPr>
          <p:cNvPr id="28" name="Text Placeholder 27">
            <a:extLst>
              <a:ext uri="{FF2B5EF4-FFF2-40B4-BE49-F238E27FC236}">
                <a16:creationId xmlns:a16="http://schemas.microsoft.com/office/drawing/2014/main" id="{CC1E4AC8-76E3-83A7-E722-CECCC99ABD5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62000" y="564041"/>
            <a:ext cx="10668000" cy="409575"/>
          </a:xfrm>
        </p:spPr>
        <p:txBody>
          <a:bodyPr/>
          <a:lstStyle/>
          <a:p>
            <a:pPr algn="ctr"/>
            <a:r>
              <a:rPr lang="en-US" dirty="0"/>
              <a:t>Delivering Solutions for Complex IT Challenges</a:t>
            </a:r>
          </a:p>
        </p:txBody>
      </p:sp>
      <p:pic>
        <p:nvPicPr>
          <p:cNvPr id="3" name="Picture Placeholder 2" descr="Icon&#10;&#10;Description automatically generated">
            <a:extLst>
              <a:ext uri="{FF2B5EF4-FFF2-40B4-BE49-F238E27FC236}">
                <a16:creationId xmlns:a16="http://schemas.microsoft.com/office/drawing/2014/main" id="{DC0D8FC0-F301-BB90-3C8C-60C0131A74C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/>
          <a:srcRect/>
          <a:stretch>
            <a:fillRect/>
          </a:stretch>
        </p:blipFill>
        <p:spPr>
          <a:xfrm>
            <a:off x="1694633" y="1084673"/>
            <a:ext cx="921576" cy="921576"/>
          </a:xfrm>
        </p:spPr>
      </p:pic>
      <p:pic>
        <p:nvPicPr>
          <p:cNvPr id="5" name="Picture Placeholder 4" descr="Icon&#10;&#10;Description automatically generated">
            <a:extLst>
              <a:ext uri="{FF2B5EF4-FFF2-40B4-BE49-F238E27FC236}">
                <a16:creationId xmlns:a16="http://schemas.microsoft.com/office/drawing/2014/main" id="{38BCF617-22BE-CD87-3102-ADC9DDD32B29}"/>
              </a:ext>
            </a:extLst>
          </p:cNvPr>
          <p:cNvPicPr>
            <a:picLocks noGrp="1" noChangeAspect="1"/>
          </p:cNvPicPr>
          <p:nvPr>
            <p:ph type="pic" sz="quarter" idx="22"/>
          </p:nvPr>
        </p:nvPicPr>
        <p:blipFill>
          <a:blip r:embed="rId3"/>
          <a:srcRect/>
          <a:stretch>
            <a:fillRect/>
          </a:stretch>
        </p:blipFill>
        <p:spPr>
          <a:xfrm>
            <a:off x="4294229" y="1106049"/>
            <a:ext cx="931355" cy="931356"/>
          </a:xfrm>
        </p:spPr>
      </p:pic>
      <p:pic>
        <p:nvPicPr>
          <p:cNvPr id="7" name="Picture Placeholder 6" descr="Logo, icon&#10;&#10;Description automatically generated">
            <a:extLst>
              <a:ext uri="{FF2B5EF4-FFF2-40B4-BE49-F238E27FC236}">
                <a16:creationId xmlns:a16="http://schemas.microsoft.com/office/drawing/2014/main" id="{475D45EB-A618-A7FA-8BE6-E5BD6561759B}"/>
              </a:ext>
            </a:extLst>
          </p:cNvPr>
          <p:cNvPicPr>
            <a:picLocks noGrp="1" noChangeAspect="1"/>
          </p:cNvPicPr>
          <p:nvPr>
            <p:ph type="pic" sz="quarter" idx="26"/>
          </p:nvPr>
        </p:nvPicPr>
        <p:blipFill>
          <a:blip r:embed="rId4"/>
          <a:srcRect/>
          <a:stretch>
            <a:fillRect/>
          </a:stretch>
        </p:blipFill>
        <p:spPr>
          <a:xfrm>
            <a:off x="7008316" y="1106049"/>
            <a:ext cx="931355" cy="931356"/>
          </a:xfrm>
        </p:spPr>
      </p:pic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01FF532D-2072-0C2D-5FFE-69FA9DE1B42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798896" y="2573402"/>
            <a:ext cx="2541600" cy="3408106"/>
          </a:xfrm>
        </p:spPr>
        <p:txBody>
          <a:bodyPr/>
          <a:lstStyle/>
          <a:p>
            <a:pPr algn="l" rtl="0" fontAlgn="base"/>
            <a:r>
              <a:rPr lang="en-US" sz="1400" b="1" dirty="0">
                <a:solidFill>
                  <a:schemeClr val="accent1"/>
                </a:solidFill>
                <a:latin typeface="+mj-lt"/>
              </a:rPr>
              <a:t>Data Center Modernization</a:t>
            </a:r>
          </a:p>
          <a:p>
            <a:pPr marL="285750" indent="-285750" algn="l" rtl="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All Flash Architectures</a:t>
            </a:r>
          </a:p>
          <a:p>
            <a:pPr marL="285750" indent="-285750" algn="l" rtl="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Traditional &amp; Hyper-Converged</a:t>
            </a:r>
          </a:p>
          <a:p>
            <a:pPr marL="285750" indent="-285750" algn="l" rtl="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Scale-Out Architectures</a:t>
            </a:r>
          </a:p>
          <a:p>
            <a:pPr marL="285750" indent="-285750" algn="l" rtl="0" fontAlgn="base">
              <a:buBlip>
                <a:blip r:embed="rId5"/>
              </a:buBlip>
            </a:pPr>
            <a:r>
              <a:rPr lang="en-US" sz="1400" b="0" i="0" dirty="0">
                <a:solidFill>
                  <a:schemeClr val="tx1"/>
                </a:solidFill>
                <a:effectLst/>
                <a:latin typeface="+mj-lt"/>
              </a:rPr>
              <a:t>Software De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fined</a:t>
            </a:r>
          </a:p>
          <a:p>
            <a:pPr marL="285750" indent="-285750" algn="l" rtl="0" fontAlgn="base">
              <a:buBlip>
                <a:blip r:embed="rId5"/>
              </a:buBlip>
            </a:pPr>
            <a:r>
              <a:rPr lang="en-US" sz="1400" b="0" i="0" dirty="0">
                <a:solidFill>
                  <a:schemeClr val="tx1"/>
                </a:solidFill>
                <a:effectLst/>
                <a:latin typeface="+mj-lt"/>
              </a:rPr>
              <a:t>Cloud Enabled</a:t>
            </a:r>
          </a:p>
          <a:p>
            <a:pPr marL="285750" indent="-285750" algn="l" rtl="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Ransomware Recovery Solutions</a:t>
            </a:r>
          </a:p>
          <a:p>
            <a:pPr marL="285750" indent="-285750" algn="l" rtl="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Disaster Recovery &amp; Business Continuity Solutions</a:t>
            </a:r>
          </a:p>
          <a:p>
            <a:pPr marL="285750" indent="-285750" algn="l" rtl="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Data Protection Solutions</a:t>
            </a:r>
          </a:p>
          <a:p>
            <a:pPr marL="285750" indent="-285750" algn="l" rtl="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HPC Architectures</a:t>
            </a:r>
          </a:p>
          <a:p>
            <a:pPr marL="285750" indent="-285750" algn="l" rtl="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Operations Automation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1BDB14C3-5EB3-07AB-FD83-CC3F115D79A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3403381" y="2573402"/>
            <a:ext cx="2541600" cy="3408105"/>
          </a:xfrm>
        </p:spPr>
        <p:txBody>
          <a:bodyPr/>
          <a:lstStyle/>
          <a:p>
            <a:pPr fontAlgn="base"/>
            <a:r>
              <a:rPr lang="en-US" sz="1400" b="1" dirty="0">
                <a:solidFill>
                  <a:schemeClr val="accent1"/>
                </a:solidFill>
                <a:latin typeface="+mj-lt"/>
              </a:rPr>
              <a:t>Installation &amp; Implementation</a:t>
            </a:r>
          </a:p>
          <a:p>
            <a:pPr marL="285750" indent="-28575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Advanced Infrastructure Integration​</a:t>
            </a:r>
          </a:p>
          <a:p>
            <a:pPr marL="285750" indent="-28575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Complex Data Migrations</a:t>
            </a:r>
          </a:p>
          <a:p>
            <a:pPr marL="285750" indent="-28575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Infrastructure Optimization Contracts</a:t>
            </a:r>
          </a:p>
          <a:p>
            <a:pPr marL="285750" indent="-28575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Complex DR &amp; BC Implementations</a:t>
            </a:r>
          </a:p>
          <a:p>
            <a:pPr marL="285750" indent="-28575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Data Center Moves</a:t>
            </a:r>
          </a:p>
          <a:p>
            <a:pPr marL="285750" indent="-28575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Infrastructure Assessments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latin typeface="+mj-lt"/>
              </a:rPr>
              <a:t>Residency/ Operational Support</a:t>
            </a:r>
          </a:p>
          <a:p>
            <a:r>
              <a:rPr lang="en-US" sz="1400" b="1" dirty="0">
                <a:solidFill>
                  <a:schemeClr val="accent1"/>
                </a:solidFill>
                <a:latin typeface="+mj-lt"/>
              </a:rPr>
              <a:t>Virtualization</a:t>
            </a:r>
            <a:endParaRPr lang="en-US" sz="1400" dirty="0">
              <a:latin typeface="+mj-lt"/>
            </a:endParaRP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latin typeface="+mj-lt"/>
              </a:rPr>
              <a:t>VMware, Nutanix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latin typeface="+mj-lt"/>
              </a:rPr>
              <a:t>Citrix, Microsoft</a:t>
            </a:r>
          </a:p>
          <a:p>
            <a:pPr fontAlgn="base"/>
            <a:endParaRPr lang="en-US" sz="1400" dirty="0">
              <a:solidFill>
                <a:schemeClr val="tx1"/>
              </a:solidFill>
              <a:latin typeface="+mj-lt"/>
            </a:endParaRP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D9364DB2-3123-F309-D94A-0D481C3C94D7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6214358" y="2573402"/>
            <a:ext cx="2541600" cy="3408104"/>
          </a:xfrm>
        </p:spPr>
        <p:txBody>
          <a:bodyPr/>
          <a:lstStyle/>
          <a:p>
            <a:r>
              <a:rPr lang="en-US" sz="1400" b="1" dirty="0">
                <a:solidFill>
                  <a:schemeClr val="accent1"/>
                </a:solidFill>
                <a:latin typeface="+mj-lt"/>
              </a:rPr>
              <a:t>Microsoft Practice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Azure ECR Assessment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M365 Consulting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MS SharePoint, AD, </a:t>
            </a:r>
            <a:r>
              <a:rPr lang="en-US" sz="1400" dirty="0" err="1">
                <a:solidFill>
                  <a:schemeClr val="tx1"/>
                </a:solidFill>
                <a:latin typeface="+mj-lt"/>
              </a:rPr>
              <a:t>Entra</a:t>
            </a:r>
            <a:r>
              <a:rPr lang="en-US" sz="1400" dirty="0">
                <a:solidFill>
                  <a:schemeClr val="tx1"/>
                </a:solidFill>
                <a:latin typeface="+mj-lt"/>
              </a:rPr>
              <a:t>,  Exchange Consulting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License/Cost Optimization</a:t>
            </a:r>
          </a:p>
          <a:p>
            <a:pPr fontAlgn="base"/>
            <a:r>
              <a:rPr lang="en-US" sz="1400" b="1" dirty="0">
                <a:solidFill>
                  <a:schemeClr val="accent1"/>
                </a:solidFill>
                <a:latin typeface="+mj-lt"/>
              </a:rPr>
              <a:t>Cloud Practice</a:t>
            </a:r>
          </a:p>
          <a:p>
            <a:pPr marL="285750" indent="-28575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Cloud Migrations/Consulting</a:t>
            </a:r>
          </a:p>
          <a:p>
            <a:pPr marL="285750" indent="-285750" fontAlgn="base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Hybrid Cloud Enablement</a:t>
            </a:r>
            <a:endParaRPr lang="en-US" sz="1400" dirty="0">
              <a:latin typeface="+mj-lt"/>
            </a:endParaRPr>
          </a:p>
          <a:p>
            <a:r>
              <a:rPr lang="en-US" sz="1400" b="1" dirty="0">
                <a:solidFill>
                  <a:schemeClr val="accent1"/>
                </a:solidFill>
                <a:latin typeface="+mj-lt"/>
              </a:rPr>
              <a:t>Security Practice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Full-service Consulting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Product/Solution Sales</a:t>
            </a:r>
          </a:p>
          <a:p>
            <a:r>
              <a:rPr lang="en-US" sz="1400" b="1" dirty="0" err="1">
                <a:solidFill>
                  <a:schemeClr val="accent1"/>
                </a:solidFill>
                <a:latin typeface="+mj-lt"/>
              </a:rPr>
              <a:t>CxO</a:t>
            </a:r>
            <a:r>
              <a:rPr lang="en-US" sz="1400" b="1" dirty="0">
                <a:solidFill>
                  <a:schemeClr val="accent1"/>
                </a:solidFill>
                <a:latin typeface="+mj-lt"/>
              </a:rPr>
              <a:t> As-A-Service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solidFill>
                  <a:schemeClr val="tx1"/>
                </a:solidFill>
                <a:latin typeface="+mj-lt"/>
              </a:rPr>
              <a:t>Virtual/Fractional/ Interim</a:t>
            </a: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  <a:p>
            <a:endParaRPr lang="en-US" sz="1400" dirty="0">
              <a:solidFill>
                <a:schemeClr val="tx1"/>
              </a:solidFill>
              <a:latin typeface="+mj-lt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en-US" sz="1400" dirty="0">
              <a:latin typeface="+mj-lt"/>
            </a:endParaRPr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854B57FB-2C74-19F9-C278-E8E7ADF02B96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8926901" y="2573402"/>
            <a:ext cx="2541600" cy="4114781"/>
          </a:xfr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sz="1400" b="1" dirty="0">
                <a:solidFill>
                  <a:schemeClr val="accent1"/>
                </a:solidFill>
                <a:latin typeface="+mj-lt"/>
              </a:rPr>
              <a:t>IPDS IOS  Service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latin typeface="+mj-lt"/>
              </a:rPr>
              <a:t>3</a:t>
            </a:r>
            <a:r>
              <a:rPr lang="en-US" sz="1400" baseline="30000" dirty="0">
                <a:latin typeface="+mj-lt"/>
              </a:rPr>
              <a:t>rd</a:t>
            </a:r>
            <a:r>
              <a:rPr lang="en-US" sz="1400" dirty="0">
                <a:latin typeface="+mj-lt"/>
              </a:rPr>
              <a:t> Party Infrastructure Assessment &amp; Review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latin typeface="+mj-lt"/>
              </a:rPr>
              <a:t>On-going Health Checks</a:t>
            </a:r>
            <a:endParaRPr lang="en-US" sz="1400" b="1" dirty="0">
              <a:solidFill>
                <a:schemeClr val="accent1"/>
              </a:solidFill>
              <a:latin typeface="+mj-lt"/>
            </a:endParaRPr>
          </a:p>
          <a:p>
            <a:r>
              <a:rPr lang="en-US" sz="1400" b="1" dirty="0">
                <a:solidFill>
                  <a:schemeClr val="accent1"/>
                </a:solidFill>
                <a:latin typeface="+mj-lt"/>
              </a:rPr>
              <a:t>IPDS Managed Data Protection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latin typeface="+mj-lt"/>
              </a:rPr>
              <a:t>24x7x365 Management &amp; Monitoring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latin typeface="+mj-lt"/>
              </a:rPr>
              <a:t>Built-In Airgap Ransomware Protection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latin typeface="+mj-lt"/>
              </a:rPr>
              <a:t>On-Prem &amp; Cloud Capable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latin typeface="+mj-lt"/>
              </a:rPr>
              <a:t>Professional Support Desk 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latin typeface="+mj-lt"/>
              </a:rPr>
              <a:t>Consumption Based Pricing Models</a:t>
            </a:r>
          </a:p>
          <a:p>
            <a:pPr marL="285750" indent="-285750">
              <a:buBlip>
                <a:blip r:embed="rId5"/>
              </a:buBlip>
            </a:pPr>
            <a:r>
              <a:rPr lang="en-US" sz="1400" dirty="0">
                <a:latin typeface="+mj-lt"/>
              </a:rPr>
              <a:t>AWS/GCP/MS Azure Support</a:t>
            </a:r>
          </a:p>
          <a:p>
            <a:endParaRPr lang="en-US" sz="1400" dirty="0">
              <a:latin typeface="+mj-lt"/>
            </a:endParaRPr>
          </a:p>
        </p:txBody>
      </p:sp>
      <p:sp>
        <p:nvSpPr>
          <p:cNvPr id="36" name="Text Placeholder 35">
            <a:extLst>
              <a:ext uri="{FF2B5EF4-FFF2-40B4-BE49-F238E27FC236}">
                <a16:creationId xmlns:a16="http://schemas.microsoft.com/office/drawing/2014/main" id="{AE1E216A-ADA8-2E64-CA7B-276035718AC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798896" y="2234930"/>
            <a:ext cx="2541600" cy="419100"/>
          </a:xfrm>
        </p:spPr>
        <p:txBody>
          <a:bodyPr/>
          <a:lstStyle/>
          <a:p>
            <a:r>
              <a:rPr lang="en-US" sz="1600">
                <a:latin typeface="+mj-lt"/>
              </a:rPr>
              <a:t>Infrastructure Solutions</a:t>
            </a:r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3F06B935-B310-A27E-7A74-8ECDEC8EB7B8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3403381" y="2234930"/>
            <a:ext cx="2541600" cy="419100"/>
          </a:xfrm>
        </p:spPr>
        <p:txBody>
          <a:bodyPr/>
          <a:lstStyle/>
          <a:p>
            <a:r>
              <a:rPr lang="en-US" sz="1600" dirty="0">
                <a:latin typeface="+mj-lt"/>
              </a:rPr>
              <a:t>Infrastructure Services</a:t>
            </a:r>
          </a:p>
          <a:p>
            <a:endParaRPr lang="en-US" sz="1400" dirty="0">
              <a:latin typeface="+mj-lt"/>
            </a:endParaRPr>
          </a:p>
        </p:txBody>
      </p:sp>
      <p:sp>
        <p:nvSpPr>
          <p:cNvPr id="51" name="Text Placeholder 50">
            <a:extLst>
              <a:ext uri="{FF2B5EF4-FFF2-40B4-BE49-F238E27FC236}">
                <a16:creationId xmlns:a16="http://schemas.microsoft.com/office/drawing/2014/main" id="{E8BD354F-3065-CAED-1BF7-9676B568215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214358" y="2234930"/>
            <a:ext cx="2541600" cy="419100"/>
          </a:xfrm>
        </p:spPr>
        <p:txBody>
          <a:bodyPr/>
          <a:lstStyle/>
          <a:p>
            <a:r>
              <a:rPr lang="en-US" sz="1600">
                <a:latin typeface="+mj-lt"/>
              </a:rPr>
              <a:t>Advanced Services</a:t>
            </a:r>
          </a:p>
        </p:txBody>
      </p:sp>
      <p:sp>
        <p:nvSpPr>
          <p:cNvPr id="52" name="Text Placeholder 51">
            <a:extLst>
              <a:ext uri="{FF2B5EF4-FFF2-40B4-BE49-F238E27FC236}">
                <a16:creationId xmlns:a16="http://schemas.microsoft.com/office/drawing/2014/main" id="{8E830B45-5B88-EE5E-D328-1A7C0BED20C1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926901" y="2234930"/>
            <a:ext cx="2541600" cy="419100"/>
          </a:xfrm>
        </p:spPr>
        <p:txBody>
          <a:bodyPr/>
          <a:lstStyle/>
          <a:p>
            <a:r>
              <a:rPr lang="en-US" sz="1600">
                <a:latin typeface="+mj-lt"/>
              </a:rPr>
              <a:t>Managed Services</a:t>
            </a:r>
          </a:p>
        </p:txBody>
      </p:sp>
      <p:sp>
        <p:nvSpPr>
          <p:cNvPr id="6" name="Flowchart: Connector 5">
            <a:extLst>
              <a:ext uri="{FF2B5EF4-FFF2-40B4-BE49-F238E27FC236}">
                <a16:creationId xmlns:a16="http://schemas.microsoft.com/office/drawing/2014/main" id="{A5F467D1-BF92-6F67-3C41-34A14507DFCD}"/>
              </a:ext>
            </a:extLst>
          </p:cNvPr>
          <p:cNvSpPr/>
          <p:nvPr/>
        </p:nvSpPr>
        <p:spPr>
          <a:xfrm>
            <a:off x="9723356" y="976711"/>
            <a:ext cx="1120138" cy="1135623"/>
          </a:xfrm>
          <a:prstGeom prst="flowChartConnector">
            <a:avLst/>
          </a:prstGeom>
          <a:solidFill>
            <a:schemeClr val="bg2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1400" spc="-10" err="1">
              <a:solidFill>
                <a:schemeClr val="tx2"/>
              </a:solidFill>
            </a:endParaRPr>
          </a:p>
        </p:txBody>
      </p:sp>
      <p:pic>
        <p:nvPicPr>
          <p:cNvPr id="8" name="Picture Placeholder 8" descr="Icon&#10;&#10;Description automatically generated">
            <a:extLst>
              <a:ext uri="{FF2B5EF4-FFF2-40B4-BE49-F238E27FC236}">
                <a16:creationId xmlns:a16="http://schemas.microsoft.com/office/drawing/2014/main" id="{DBCC41E2-F640-A8A8-2C21-7ED7C59F9B01}"/>
              </a:ext>
            </a:extLst>
          </p:cNvPr>
          <p:cNvPicPr>
            <a:picLocks noGrp="1" noChangeAspect="1"/>
          </p:cNvPicPr>
          <p:nvPr>
            <p:ph type="pic" sz="quarter" idx="24"/>
          </p:nvPr>
        </p:nvPicPr>
        <p:blipFill>
          <a:blip r:embed="rId6"/>
          <a:srcRect/>
          <a:stretch>
            <a:fillRect/>
          </a:stretch>
        </p:blipFill>
        <p:spPr>
          <a:xfrm>
            <a:off x="9817748" y="1079784"/>
            <a:ext cx="931355" cy="931355"/>
          </a:xfrm>
        </p:spPr>
      </p:pic>
    </p:spTree>
    <p:extLst>
      <p:ext uri="{BB962C8B-B14F-4D97-AF65-F5344CB8AC3E}">
        <p14:creationId xmlns:p14="http://schemas.microsoft.com/office/powerpoint/2010/main" val="1897298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D31825-C7B6-C3A8-581E-27E4540386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62000" y="279683"/>
            <a:ext cx="10668000" cy="461665"/>
          </a:xfrm>
        </p:spPr>
        <p:txBody>
          <a:bodyPr/>
          <a:lstStyle/>
          <a:p>
            <a:pPr algn="ctr"/>
            <a:r>
              <a:rPr lang="en-US"/>
              <a:t>Strategic OEM Relationships</a:t>
            </a:r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848595E7-29DA-997A-8DEA-C238084646E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44150" y="752139"/>
            <a:ext cx="10668000" cy="409575"/>
          </a:xfrm>
        </p:spPr>
        <p:txBody>
          <a:bodyPr/>
          <a:lstStyle/>
          <a:p>
            <a:pPr algn="ctr"/>
            <a:r>
              <a:rPr lang="en-US"/>
              <a:t>Best in Class Technology &amp; Services Partners</a:t>
            </a:r>
          </a:p>
        </p:txBody>
      </p:sp>
      <p:pic>
        <p:nvPicPr>
          <p:cNvPr id="70" name="Picture 69" descr="Logo&#10;&#10;Description automatically generated with medium confidence">
            <a:extLst>
              <a:ext uri="{FF2B5EF4-FFF2-40B4-BE49-F238E27FC236}">
                <a16:creationId xmlns:a16="http://schemas.microsoft.com/office/drawing/2014/main" id="{F20722F4-FE3F-A35C-4647-7CBD9040B6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4540" y="2889310"/>
            <a:ext cx="2331666" cy="438033"/>
          </a:xfrm>
          <a:prstGeom prst="rect">
            <a:avLst/>
          </a:prstGeom>
        </p:spPr>
      </p:pic>
      <p:pic>
        <p:nvPicPr>
          <p:cNvPr id="72" name="Picture 7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FB3EDD65-0B02-B9E0-0A3B-BC2C90AA8E2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6843" y="2240641"/>
            <a:ext cx="1458933" cy="293496"/>
          </a:xfrm>
          <a:prstGeom prst="rect">
            <a:avLst/>
          </a:prstGeom>
        </p:spPr>
      </p:pic>
      <p:pic>
        <p:nvPicPr>
          <p:cNvPr id="74" name="Picture 73" descr="A screenshot of a video game&#10;&#10;Description automatically generated with medium confidence">
            <a:extLst>
              <a:ext uri="{FF2B5EF4-FFF2-40B4-BE49-F238E27FC236}">
                <a16:creationId xmlns:a16="http://schemas.microsoft.com/office/drawing/2014/main" id="{5E3603E6-2267-346F-56D6-D1AAB156BC5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5792" y="1984982"/>
            <a:ext cx="1050405" cy="553925"/>
          </a:xfrm>
          <a:prstGeom prst="rect">
            <a:avLst/>
          </a:prstGeom>
        </p:spPr>
      </p:pic>
      <p:pic>
        <p:nvPicPr>
          <p:cNvPr id="76" name="Picture 75" descr="Shape&#10;&#10;Description automatically generated with medium confidence">
            <a:extLst>
              <a:ext uri="{FF2B5EF4-FFF2-40B4-BE49-F238E27FC236}">
                <a16:creationId xmlns:a16="http://schemas.microsoft.com/office/drawing/2014/main" id="{3CB4B8D8-4519-D390-7E15-09CEF5F3866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93728" y="1416350"/>
            <a:ext cx="2252054" cy="309657"/>
          </a:xfrm>
          <a:prstGeom prst="rect">
            <a:avLst/>
          </a:prstGeom>
        </p:spPr>
      </p:pic>
      <p:pic>
        <p:nvPicPr>
          <p:cNvPr id="78" name="Picture 77" descr="Icon&#10;&#10;Description automatically generated">
            <a:extLst>
              <a:ext uri="{FF2B5EF4-FFF2-40B4-BE49-F238E27FC236}">
                <a16:creationId xmlns:a16="http://schemas.microsoft.com/office/drawing/2014/main" id="{A0C5201C-EFEB-6FEF-C5D2-BF930D305C6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909216" y="2147313"/>
            <a:ext cx="1627397" cy="216139"/>
          </a:xfrm>
          <a:prstGeom prst="rect">
            <a:avLst/>
          </a:prstGeom>
        </p:spPr>
      </p:pic>
      <p:pic>
        <p:nvPicPr>
          <p:cNvPr id="80" name="Picture 79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7A89C3E-E4B9-CB63-D680-44300DC6D67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2499" y="1368541"/>
            <a:ext cx="1130569" cy="448638"/>
          </a:xfrm>
          <a:prstGeom prst="rect">
            <a:avLst/>
          </a:prstGeom>
        </p:spPr>
      </p:pic>
      <p:pic>
        <p:nvPicPr>
          <p:cNvPr id="82" name="Picture 81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DFC0BF22-4EBD-C045-C38B-7B51E1C9F4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831187" y="1362464"/>
            <a:ext cx="1367289" cy="534098"/>
          </a:xfrm>
          <a:prstGeom prst="rect">
            <a:avLst/>
          </a:prstGeom>
        </p:spPr>
      </p:pic>
      <p:pic>
        <p:nvPicPr>
          <p:cNvPr id="84" name="Picture 83" descr="Text, logo&#10;&#10;Description automatically generated">
            <a:extLst>
              <a:ext uri="{FF2B5EF4-FFF2-40B4-BE49-F238E27FC236}">
                <a16:creationId xmlns:a16="http://schemas.microsoft.com/office/drawing/2014/main" id="{4657AA42-DECF-8B43-5DC0-31FBEB56442B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6169" b="32798"/>
          <a:stretch/>
        </p:blipFill>
        <p:spPr>
          <a:xfrm>
            <a:off x="4784808" y="1321478"/>
            <a:ext cx="1557060" cy="483204"/>
          </a:xfrm>
          <a:prstGeom prst="rect">
            <a:avLst/>
          </a:prstGeom>
        </p:spPr>
      </p:pic>
      <p:pic>
        <p:nvPicPr>
          <p:cNvPr id="86" name="Picture 85" descr="Logo&#10;&#10;Description automatically generated">
            <a:extLst>
              <a:ext uri="{FF2B5EF4-FFF2-40B4-BE49-F238E27FC236}">
                <a16:creationId xmlns:a16="http://schemas.microsoft.com/office/drawing/2014/main" id="{84229CFE-D710-F83C-B95C-49E767C8B96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883271" y="1331628"/>
            <a:ext cx="1267717" cy="444661"/>
          </a:xfrm>
          <a:prstGeom prst="rect">
            <a:avLst/>
          </a:prstGeom>
        </p:spPr>
      </p:pic>
      <p:pic>
        <p:nvPicPr>
          <p:cNvPr id="88" name="Picture 87" descr="A picture containing text&#10;&#10;Description automatically generated">
            <a:extLst>
              <a:ext uri="{FF2B5EF4-FFF2-40B4-BE49-F238E27FC236}">
                <a16:creationId xmlns:a16="http://schemas.microsoft.com/office/drawing/2014/main" id="{1C725895-AE28-0A04-E570-72171594852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2404841" y="2179028"/>
            <a:ext cx="1912797" cy="334740"/>
          </a:xfrm>
          <a:prstGeom prst="rect">
            <a:avLst/>
          </a:prstGeom>
        </p:spPr>
      </p:pic>
      <p:pic>
        <p:nvPicPr>
          <p:cNvPr id="90" name="Picture 89" descr="Text&#10;&#10;Description automatically generated">
            <a:extLst>
              <a:ext uri="{FF2B5EF4-FFF2-40B4-BE49-F238E27FC236}">
                <a16:creationId xmlns:a16="http://schemas.microsoft.com/office/drawing/2014/main" id="{D1F80537-9FFC-4FC9-FCF0-B088DC15400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112958" y="2082553"/>
            <a:ext cx="988289" cy="372585"/>
          </a:xfrm>
          <a:prstGeom prst="rect">
            <a:avLst/>
          </a:prstGeom>
        </p:spPr>
      </p:pic>
      <p:pic>
        <p:nvPicPr>
          <p:cNvPr id="92" name="Picture 91" descr="Logo&#10;&#10;Description automatically generated">
            <a:extLst>
              <a:ext uri="{FF2B5EF4-FFF2-40B4-BE49-F238E27FC236}">
                <a16:creationId xmlns:a16="http://schemas.microsoft.com/office/drawing/2014/main" id="{8EA9AC19-86DE-7BE8-AD5F-C5CB5226DA85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7610803" y="2030982"/>
            <a:ext cx="1928955" cy="568095"/>
          </a:xfrm>
          <a:prstGeom prst="rect">
            <a:avLst/>
          </a:prstGeom>
        </p:spPr>
      </p:pic>
      <p:pic>
        <p:nvPicPr>
          <p:cNvPr id="94" name="Picture 93" descr="A picture containing text, light&#10;&#10;Description automatically generated">
            <a:extLst>
              <a:ext uri="{FF2B5EF4-FFF2-40B4-BE49-F238E27FC236}">
                <a16:creationId xmlns:a16="http://schemas.microsoft.com/office/drawing/2014/main" id="{92DE9E8E-EC65-C762-5D27-47D01080D4A0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422468" y="2950621"/>
            <a:ext cx="2443697" cy="400919"/>
          </a:xfrm>
          <a:prstGeom prst="rect">
            <a:avLst/>
          </a:prstGeom>
        </p:spPr>
      </p:pic>
      <p:pic>
        <p:nvPicPr>
          <p:cNvPr id="96" name="Picture 95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04149F4F-44AC-D9EB-AA12-302E21DC0245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482638" y="2260270"/>
            <a:ext cx="2672412" cy="1263978"/>
          </a:xfrm>
          <a:prstGeom prst="rect">
            <a:avLst/>
          </a:prstGeom>
        </p:spPr>
      </p:pic>
      <p:pic>
        <p:nvPicPr>
          <p:cNvPr id="98" name="Picture 97" descr="A picture containing text, sign&#10;&#10;Description automatically generated">
            <a:extLst>
              <a:ext uri="{FF2B5EF4-FFF2-40B4-BE49-F238E27FC236}">
                <a16:creationId xmlns:a16="http://schemas.microsoft.com/office/drawing/2014/main" id="{719BD9DB-0EE6-9E15-DC38-5E4BC3165DAD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57109" y="2793834"/>
            <a:ext cx="1404066" cy="493066"/>
          </a:xfrm>
          <a:prstGeom prst="rect">
            <a:avLst/>
          </a:prstGeom>
        </p:spPr>
      </p:pic>
      <p:pic>
        <p:nvPicPr>
          <p:cNvPr id="102" name="Picture 10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19E7FCEF-670E-91F4-AD36-31F6DBA3B6BF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414367" y="3675280"/>
            <a:ext cx="2443696" cy="305462"/>
          </a:xfrm>
          <a:prstGeom prst="rect">
            <a:avLst/>
          </a:prstGeom>
        </p:spPr>
      </p:pic>
      <p:pic>
        <p:nvPicPr>
          <p:cNvPr id="104" name="Picture 103" descr="Logo&#10;&#10;Description automatically generated">
            <a:extLst>
              <a:ext uri="{FF2B5EF4-FFF2-40B4-BE49-F238E27FC236}">
                <a16:creationId xmlns:a16="http://schemas.microsoft.com/office/drawing/2014/main" id="{6C8CBF0C-AC8C-C475-4D56-A2B82A61B2B4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3163307" y="3505827"/>
            <a:ext cx="1135365" cy="405059"/>
          </a:xfrm>
          <a:prstGeom prst="rect">
            <a:avLst/>
          </a:prstGeom>
        </p:spPr>
      </p:pic>
      <p:pic>
        <p:nvPicPr>
          <p:cNvPr id="106" name="Picture 105">
            <a:extLst>
              <a:ext uri="{FF2B5EF4-FFF2-40B4-BE49-F238E27FC236}">
                <a16:creationId xmlns:a16="http://schemas.microsoft.com/office/drawing/2014/main" id="{13AA3F7A-5A73-6906-C148-F4B9672D4D0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4732040" y="3706424"/>
            <a:ext cx="1910623" cy="231364"/>
          </a:xfrm>
          <a:prstGeom prst="rect">
            <a:avLst/>
          </a:prstGeom>
        </p:spPr>
      </p:pic>
      <p:pic>
        <p:nvPicPr>
          <p:cNvPr id="108" name="Picture 107" descr="Shape&#10;&#10;Description automatically generated with medium confidence">
            <a:extLst>
              <a:ext uri="{FF2B5EF4-FFF2-40B4-BE49-F238E27FC236}">
                <a16:creationId xmlns:a16="http://schemas.microsoft.com/office/drawing/2014/main" id="{E9681BAB-814C-6579-11F8-E4F3453CF24F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030906" y="3398372"/>
            <a:ext cx="1000886" cy="587119"/>
          </a:xfrm>
          <a:prstGeom prst="rect">
            <a:avLst/>
          </a:prstGeom>
        </p:spPr>
      </p:pic>
      <p:pic>
        <p:nvPicPr>
          <p:cNvPr id="110" name="Picture 109" descr="Text&#10;&#10;Description automatically generated with medium confidence">
            <a:extLst>
              <a:ext uri="{FF2B5EF4-FFF2-40B4-BE49-F238E27FC236}">
                <a16:creationId xmlns:a16="http://schemas.microsoft.com/office/drawing/2014/main" id="{51D238EE-E06A-166B-1BD4-15DD1058ECE8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8362982" y="3502862"/>
            <a:ext cx="1151396" cy="482627"/>
          </a:xfrm>
          <a:prstGeom prst="rect">
            <a:avLst/>
          </a:prstGeom>
        </p:spPr>
      </p:pic>
      <p:pic>
        <p:nvPicPr>
          <p:cNvPr id="114" name="Picture 113" descr="Shape&#10;&#10;Description automatically generated with medium confidence">
            <a:extLst>
              <a:ext uri="{FF2B5EF4-FFF2-40B4-BE49-F238E27FC236}">
                <a16:creationId xmlns:a16="http://schemas.microsoft.com/office/drawing/2014/main" id="{771195DE-1F54-7079-DEEF-9AA1373E45E5}"/>
              </a:ext>
            </a:extLst>
          </p:cNvPr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24494" y="4172317"/>
            <a:ext cx="1093110" cy="301053"/>
          </a:xfrm>
          <a:prstGeom prst="rect">
            <a:avLst/>
          </a:prstGeom>
        </p:spPr>
      </p:pic>
      <p:pic>
        <p:nvPicPr>
          <p:cNvPr id="116" name="Picture 115" descr="Logo&#10;&#10;Description automatically generated">
            <a:extLst>
              <a:ext uri="{FF2B5EF4-FFF2-40B4-BE49-F238E27FC236}">
                <a16:creationId xmlns:a16="http://schemas.microsoft.com/office/drawing/2014/main" id="{FF1AC1FB-7C54-EB31-14C4-2F657E0A9C52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1513508" y="4071351"/>
            <a:ext cx="1022578" cy="511290"/>
          </a:xfrm>
          <a:prstGeom prst="rect">
            <a:avLst/>
          </a:prstGeom>
        </p:spPr>
      </p:pic>
      <p:pic>
        <p:nvPicPr>
          <p:cNvPr id="118" name="Picture 117" descr="Shape&#10;&#10;Description automatically generated with medium confidence">
            <a:extLst>
              <a:ext uri="{FF2B5EF4-FFF2-40B4-BE49-F238E27FC236}">
                <a16:creationId xmlns:a16="http://schemas.microsoft.com/office/drawing/2014/main" id="{127C38C4-EA3E-49A8-A3AA-A008A7EA034C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2783940" y="4165522"/>
            <a:ext cx="1135365" cy="310008"/>
          </a:xfrm>
          <a:prstGeom prst="rect">
            <a:avLst/>
          </a:prstGeom>
        </p:spPr>
      </p:pic>
      <p:pic>
        <p:nvPicPr>
          <p:cNvPr id="120" name="Picture 119" descr="Icon&#10;&#10;Description automatically generated">
            <a:extLst>
              <a:ext uri="{FF2B5EF4-FFF2-40B4-BE49-F238E27FC236}">
                <a16:creationId xmlns:a16="http://schemas.microsoft.com/office/drawing/2014/main" id="{D9B03F85-F838-E36B-7BDA-98A95F1AA424}"/>
              </a:ext>
            </a:extLst>
          </p:cNvPr>
          <p:cNvPicPr>
            <a:picLocks noChangeAspect="1"/>
          </p:cNvPicPr>
          <p:nvPr/>
        </p:nvPicPr>
        <p:blipFill>
          <a:blip r:embed="rId25"/>
          <a:stretch>
            <a:fillRect/>
          </a:stretch>
        </p:blipFill>
        <p:spPr>
          <a:xfrm>
            <a:off x="4384566" y="4190832"/>
            <a:ext cx="1768714" cy="379377"/>
          </a:xfrm>
          <a:prstGeom prst="rect">
            <a:avLst/>
          </a:prstGeom>
        </p:spPr>
      </p:pic>
      <p:pic>
        <p:nvPicPr>
          <p:cNvPr id="122" name="Picture 1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5D1D3AA-4672-762D-17A9-12F5DE0BB213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6520079" y="4231608"/>
            <a:ext cx="1262009" cy="305407"/>
          </a:xfrm>
          <a:prstGeom prst="rect">
            <a:avLst/>
          </a:prstGeom>
        </p:spPr>
      </p:pic>
      <p:pic>
        <p:nvPicPr>
          <p:cNvPr id="124" name="Picture 123" descr="A picture containing text, sign, clipart&#10;&#10;Description automatically generated">
            <a:extLst>
              <a:ext uri="{FF2B5EF4-FFF2-40B4-BE49-F238E27FC236}">
                <a16:creationId xmlns:a16="http://schemas.microsoft.com/office/drawing/2014/main" id="{6D215B2C-0DCD-6065-69FF-3A336EB316B7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8210514" y="4113389"/>
            <a:ext cx="1551609" cy="493067"/>
          </a:xfrm>
          <a:prstGeom prst="rect">
            <a:avLst/>
          </a:prstGeom>
        </p:spPr>
      </p:pic>
      <p:pic>
        <p:nvPicPr>
          <p:cNvPr id="128" name="Picture 127" descr="Icon&#10;&#10;Description automatically generated">
            <a:extLst>
              <a:ext uri="{FF2B5EF4-FFF2-40B4-BE49-F238E27FC236}">
                <a16:creationId xmlns:a16="http://schemas.microsoft.com/office/drawing/2014/main" id="{AC53A4A5-6A37-1E38-55CA-0599C75BEFB0}"/>
              </a:ext>
            </a:extLst>
          </p:cNvPr>
          <p:cNvPicPr>
            <a:picLocks noChangeAspect="1"/>
          </p:cNvPicPr>
          <p:nvPr/>
        </p:nvPicPr>
        <p:blipFill>
          <a:blip r:embed="rId28"/>
          <a:stretch>
            <a:fillRect/>
          </a:stretch>
        </p:blipFill>
        <p:spPr>
          <a:xfrm>
            <a:off x="223940" y="4855993"/>
            <a:ext cx="1368087" cy="176889"/>
          </a:xfrm>
          <a:prstGeom prst="rect">
            <a:avLst/>
          </a:prstGeom>
        </p:spPr>
      </p:pic>
      <p:pic>
        <p:nvPicPr>
          <p:cNvPr id="130" name="Picture 129" descr="Shape&#10;&#10;Description automatically generated with medium confidence">
            <a:extLst>
              <a:ext uri="{FF2B5EF4-FFF2-40B4-BE49-F238E27FC236}">
                <a16:creationId xmlns:a16="http://schemas.microsoft.com/office/drawing/2014/main" id="{AD907FA4-5B89-C356-BE0A-23F06C5734B7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1871209" y="4805336"/>
            <a:ext cx="1645573" cy="298903"/>
          </a:xfrm>
          <a:prstGeom prst="rect">
            <a:avLst/>
          </a:prstGeom>
        </p:spPr>
      </p:pic>
      <p:pic>
        <p:nvPicPr>
          <p:cNvPr id="132" name="Picture 131" descr="Shape&#10;&#10;Description automatically generated with low confidence">
            <a:extLst>
              <a:ext uri="{FF2B5EF4-FFF2-40B4-BE49-F238E27FC236}">
                <a16:creationId xmlns:a16="http://schemas.microsoft.com/office/drawing/2014/main" id="{8F93B6F5-F92E-9366-912B-9B201904E0A6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3834727" y="4752066"/>
            <a:ext cx="1456528" cy="429733"/>
          </a:xfrm>
          <a:prstGeom prst="rect">
            <a:avLst/>
          </a:prstGeom>
        </p:spPr>
      </p:pic>
      <p:pic>
        <p:nvPicPr>
          <p:cNvPr id="134" name="Picture 133" descr="A picture containing text&#10;&#10;Description automatically generated">
            <a:extLst>
              <a:ext uri="{FF2B5EF4-FFF2-40B4-BE49-F238E27FC236}">
                <a16:creationId xmlns:a16="http://schemas.microsoft.com/office/drawing/2014/main" id="{1F946443-6018-04FC-18EE-5EB425ADD9E8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391448" y="5837430"/>
            <a:ext cx="1798938" cy="740887"/>
          </a:xfrm>
          <a:prstGeom prst="rect">
            <a:avLst/>
          </a:prstGeom>
        </p:spPr>
      </p:pic>
      <p:pic>
        <p:nvPicPr>
          <p:cNvPr id="136" name="Picture 135" descr="Logo&#10;&#10;Description automatically generated">
            <a:extLst>
              <a:ext uri="{FF2B5EF4-FFF2-40B4-BE49-F238E27FC236}">
                <a16:creationId xmlns:a16="http://schemas.microsoft.com/office/drawing/2014/main" id="{A6C134DE-DC90-4F07-38E7-1FDEE224EAAB}"/>
              </a:ext>
            </a:extLst>
          </p:cNvPr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2471768" y="5328182"/>
            <a:ext cx="1551482" cy="443466"/>
          </a:xfrm>
          <a:prstGeom prst="rect">
            <a:avLst/>
          </a:prstGeom>
        </p:spPr>
      </p:pic>
      <p:pic>
        <p:nvPicPr>
          <p:cNvPr id="138" name="Picture 137" descr="Shape&#10;&#10;Description automatically generated with medium confidence">
            <a:extLst>
              <a:ext uri="{FF2B5EF4-FFF2-40B4-BE49-F238E27FC236}">
                <a16:creationId xmlns:a16="http://schemas.microsoft.com/office/drawing/2014/main" id="{72C12807-D709-CF18-B1CA-C0C12BD944DD}"/>
              </a:ext>
            </a:extLst>
          </p:cNvPr>
          <p:cNvPicPr>
            <a:picLocks noChangeAspect="1"/>
          </p:cNvPicPr>
          <p:nvPr/>
        </p:nvPicPr>
        <p:blipFill>
          <a:blip r:embed="rId33"/>
          <a:stretch>
            <a:fillRect/>
          </a:stretch>
        </p:blipFill>
        <p:spPr>
          <a:xfrm>
            <a:off x="5629394" y="4817411"/>
            <a:ext cx="1903289" cy="350166"/>
          </a:xfrm>
          <a:prstGeom prst="rect">
            <a:avLst/>
          </a:prstGeom>
        </p:spPr>
      </p:pic>
      <p:pic>
        <p:nvPicPr>
          <p:cNvPr id="140" name="Picture 139" descr="Text, logo&#10;&#10;Description automatically generated with medium confidence">
            <a:extLst>
              <a:ext uri="{FF2B5EF4-FFF2-40B4-BE49-F238E27FC236}">
                <a16:creationId xmlns:a16="http://schemas.microsoft.com/office/drawing/2014/main" id="{A2014822-25E7-4EBD-7FE1-60545BDE2233}"/>
              </a:ext>
            </a:extLst>
          </p:cNvPr>
          <p:cNvPicPr>
            <a:picLocks noChangeAspect="1"/>
          </p:cNvPicPr>
          <p:nvPr/>
        </p:nvPicPr>
        <p:blipFill>
          <a:blip r:embed="rId34"/>
          <a:stretch>
            <a:fillRect/>
          </a:stretch>
        </p:blipFill>
        <p:spPr>
          <a:xfrm>
            <a:off x="9701254" y="4817859"/>
            <a:ext cx="2016022" cy="352804"/>
          </a:xfrm>
          <a:prstGeom prst="rect">
            <a:avLst/>
          </a:prstGeom>
        </p:spPr>
      </p:pic>
      <p:pic>
        <p:nvPicPr>
          <p:cNvPr id="142" name="Picture 141" descr="Logo, company name&#10;&#10;Description automatically generated">
            <a:extLst>
              <a:ext uri="{FF2B5EF4-FFF2-40B4-BE49-F238E27FC236}">
                <a16:creationId xmlns:a16="http://schemas.microsoft.com/office/drawing/2014/main" id="{CB61E278-0FA9-DEE0-FD96-34546AA5B195}"/>
              </a:ext>
            </a:extLst>
          </p:cNvPr>
          <p:cNvPicPr>
            <a:picLocks noChangeAspect="1"/>
          </p:cNvPicPr>
          <p:nvPr/>
        </p:nvPicPr>
        <p:blipFill>
          <a:blip r:embed="rId35"/>
          <a:stretch>
            <a:fillRect/>
          </a:stretch>
        </p:blipFill>
        <p:spPr>
          <a:xfrm>
            <a:off x="671049" y="5336447"/>
            <a:ext cx="1419475" cy="438491"/>
          </a:xfrm>
          <a:prstGeom prst="rect">
            <a:avLst/>
          </a:prstGeom>
        </p:spPr>
      </p:pic>
      <p:pic>
        <p:nvPicPr>
          <p:cNvPr id="150" name="Picture 149" descr="Text, logo&#10;&#10;Description automatically generated">
            <a:extLst>
              <a:ext uri="{FF2B5EF4-FFF2-40B4-BE49-F238E27FC236}">
                <a16:creationId xmlns:a16="http://schemas.microsoft.com/office/drawing/2014/main" id="{FC8CDBB7-A191-0EE5-CA9E-CC47A039898E}"/>
              </a:ext>
            </a:extLst>
          </p:cNvPr>
          <p:cNvPicPr>
            <a:picLocks noChangeAspect="1"/>
          </p:cNvPicPr>
          <p:nvPr/>
        </p:nvPicPr>
        <p:blipFill>
          <a:blip r:embed="rId36"/>
          <a:stretch>
            <a:fillRect/>
          </a:stretch>
        </p:blipFill>
        <p:spPr>
          <a:xfrm>
            <a:off x="8099689" y="5361560"/>
            <a:ext cx="1677982" cy="477501"/>
          </a:xfrm>
          <a:prstGeom prst="rect">
            <a:avLst/>
          </a:prstGeom>
        </p:spPr>
      </p:pic>
      <p:pic>
        <p:nvPicPr>
          <p:cNvPr id="152" name="Picture 151" descr="Logo&#10;&#10;Description automatically generated">
            <a:extLst>
              <a:ext uri="{FF2B5EF4-FFF2-40B4-BE49-F238E27FC236}">
                <a16:creationId xmlns:a16="http://schemas.microsoft.com/office/drawing/2014/main" id="{7E5C92B9-6590-8D4B-635F-3968ACE08D58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10082874" y="5381710"/>
            <a:ext cx="1798938" cy="302222"/>
          </a:xfrm>
          <a:prstGeom prst="rect">
            <a:avLst/>
          </a:prstGeom>
        </p:spPr>
      </p:pic>
      <p:pic>
        <p:nvPicPr>
          <p:cNvPr id="154" name="Picture 153" descr="Logo&#10;&#10;Description automatically generated">
            <a:extLst>
              <a:ext uri="{FF2B5EF4-FFF2-40B4-BE49-F238E27FC236}">
                <a16:creationId xmlns:a16="http://schemas.microsoft.com/office/drawing/2014/main" id="{3A23C88E-767F-DA74-41CC-7011E696C7B8}"/>
              </a:ext>
            </a:extLst>
          </p:cNvPr>
          <p:cNvPicPr>
            <a:picLocks noChangeAspect="1"/>
          </p:cNvPicPr>
          <p:nvPr/>
        </p:nvPicPr>
        <p:blipFill>
          <a:blip r:embed="rId38"/>
          <a:stretch>
            <a:fillRect/>
          </a:stretch>
        </p:blipFill>
        <p:spPr>
          <a:xfrm>
            <a:off x="2379610" y="5966299"/>
            <a:ext cx="1677983" cy="496682"/>
          </a:xfrm>
          <a:prstGeom prst="rect">
            <a:avLst/>
          </a:prstGeom>
        </p:spPr>
      </p:pic>
      <p:pic>
        <p:nvPicPr>
          <p:cNvPr id="156" name="Picture 155" descr="Logo&#10;&#10;Description automatically generated">
            <a:extLst>
              <a:ext uri="{FF2B5EF4-FFF2-40B4-BE49-F238E27FC236}">
                <a16:creationId xmlns:a16="http://schemas.microsoft.com/office/drawing/2014/main" id="{031CF827-DE96-A014-3E62-D2B94C8C5088}"/>
              </a:ext>
            </a:extLst>
          </p:cNvPr>
          <p:cNvPicPr>
            <a:picLocks noChangeAspect="1"/>
          </p:cNvPicPr>
          <p:nvPr/>
        </p:nvPicPr>
        <p:blipFill rotWithShape="1">
          <a:blip r:embed="rId39"/>
          <a:srcRect t="29561" b="28749"/>
          <a:stretch/>
        </p:blipFill>
        <p:spPr>
          <a:xfrm>
            <a:off x="4391645" y="5953604"/>
            <a:ext cx="1686505" cy="421861"/>
          </a:xfrm>
          <a:prstGeom prst="rect">
            <a:avLst/>
          </a:prstGeom>
        </p:spPr>
      </p:pic>
      <p:pic>
        <p:nvPicPr>
          <p:cNvPr id="158" name="Picture 157" descr="Logo&#10;&#10;Description automatically generated">
            <a:extLst>
              <a:ext uri="{FF2B5EF4-FFF2-40B4-BE49-F238E27FC236}">
                <a16:creationId xmlns:a16="http://schemas.microsoft.com/office/drawing/2014/main" id="{B461C0B2-8BCC-0567-ED91-4CFBB1F80B2B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6449471" y="5984736"/>
            <a:ext cx="1798938" cy="421861"/>
          </a:xfrm>
          <a:prstGeom prst="rect">
            <a:avLst/>
          </a:prstGeom>
        </p:spPr>
      </p:pic>
      <p:pic>
        <p:nvPicPr>
          <p:cNvPr id="160" name="Picture 159" descr="Logo, company name&#10;&#10;Description automatically generated">
            <a:extLst>
              <a:ext uri="{FF2B5EF4-FFF2-40B4-BE49-F238E27FC236}">
                <a16:creationId xmlns:a16="http://schemas.microsoft.com/office/drawing/2014/main" id="{8153B959-D621-378C-51AD-4A690EF91483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8568466" y="6004803"/>
            <a:ext cx="1798938" cy="373525"/>
          </a:xfrm>
          <a:prstGeom prst="rect">
            <a:avLst/>
          </a:prstGeom>
        </p:spPr>
      </p:pic>
      <p:pic>
        <p:nvPicPr>
          <p:cNvPr id="162" name="Picture 161" descr="Logo, icon&#10;&#10;Description automatically generated">
            <a:extLst>
              <a:ext uri="{FF2B5EF4-FFF2-40B4-BE49-F238E27FC236}">
                <a16:creationId xmlns:a16="http://schemas.microsoft.com/office/drawing/2014/main" id="{2F4BE10A-8B1A-7904-19F8-1CC64483623B}"/>
              </a:ext>
            </a:extLst>
          </p:cNvPr>
          <p:cNvPicPr>
            <a:picLocks noChangeAspect="1"/>
          </p:cNvPicPr>
          <p:nvPr/>
        </p:nvPicPr>
        <p:blipFill>
          <a:blip r:embed="rId42"/>
          <a:stretch>
            <a:fillRect/>
          </a:stretch>
        </p:blipFill>
        <p:spPr>
          <a:xfrm>
            <a:off x="10608614" y="5981158"/>
            <a:ext cx="1334201" cy="394701"/>
          </a:xfrm>
          <a:prstGeom prst="rect">
            <a:avLst/>
          </a:prstGeom>
        </p:spPr>
      </p:pic>
      <p:pic>
        <p:nvPicPr>
          <p:cNvPr id="164" name="Picture 163" descr="Logo, company name&#10;&#10;Description automatically generated">
            <a:extLst>
              <a:ext uri="{FF2B5EF4-FFF2-40B4-BE49-F238E27FC236}">
                <a16:creationId xmlns:a16="http://schemas.microsoft.com/office/drawing/2014/main" id="{3AD77A95-15FB-5C04-3DC1-FD860CB1EABD}"/>
              </a:ext>
            </a:extLst>
          </p:cNvPr>
          <p:cNvPicPr>
            <a:picLocks noChangeAspect="1"/>
          </p:cNvPicPr>
          <p:nvPr/>
        </p:nvPicPr>
        <p:blipFill rotWithShape="1">
          <a:blip r:embed="rId43"/>
          <a:srcRect t="40123" b="40290"/>
          <a:stretch/>
        </p:blipFill>
        <p:spPr>
          <a:xfrm>
            <a:off x="5768433" y="5352102"/>
            <a:ext cx="2551607" cy="374844"/>
          </a:xfrm>
          <a:prstGeom prst="rect">
            <a:avLst/>
          </a:prstGeom>
        </p:spPr>
      </p:pic>
      <p:pic>
        <p:nvPicPr>
          <p:cNvPr id="166" name="Picture 165" descr="Background pattern&#10;&#10;Description automatically generated">
            <a:extLst>
              <a:ext uri="{FF2B5EF4-FFF2-40B4-BE49-F238E27FC236}">
                <a16:creationId xmlns:a16="http://schemas.microsoft.com/office/drawing/2014/main" id="{DB7B6E80-1786-5D7F-5BCF-00AD9609D445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10187898" y="4244704"/>
            <a:ext cx="1694333" cy="305407"/>
          </a:xfrm>
          <a:prstGeom prst="rect">
            <a:avLst/>
          </a:prstGeom>
        </p:spPr>
      </p:pic>
      <p:pic>
        <p:nvPicPr>
          <p:cNvPr id="168" name="Picture 167" descr="Text, logo&#10;&#10;Description automatically generated">
            <a:extLst>
              <a:ext uri="{FF2B5EF4-FFF2-40B4-BE49-F238E27FC236}">
                <a16:creationId xmlns:a16="http://schemas.microsoft.com/office/drawing/2014/main" id="{F1DE31AE-4DD5-8DB2-3DC2-8D15FE4A6250}"/>
              </a:ext>
            </a:extLst>
          </p:cNvPr>
          <p:cNvPicPr>
            <a:picLocks noChangeAspect="1"/>
          </p:cNvPicPr>
          <p:nvPr/>
        </p:nvPicPr>
        <p:blipFill rotWithShape="1">
          <a:blip r:embed="rId45"/>
          <a:srcRect t="31400" b="31135"/>
          <a:stretch/>
        </p:blipFill>
        <p:spPr>
          <a:xfrm>
            <a:off x="9744922" y="3605236"/>
            <a:ext cx="1195552" cy="251957"/>
          </a:xfrm>
          <a:prstGeom prst="rect">
            <a:avLst/>
          </a:prstGeom>
        </p:spPr>
      </p:pic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8D1A7B46-A83F-98C8-CD69-FEDAC9756CDC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11264336" y="3591985"/>
            <a:ext cx="775866" cy="311256"/>
          </a:xfrm>
          <a:prstGeom prst="rect">
            <a:avLst/>
          </a:prstGeom>
        </p:spPr>
      </p:pic>
      <p:pic>
        <p:nvPicPr>
          <p:cNvPr id="3" name="Picture 2" descr="A black and blue logo&#10;&#10;Description automatically generated">
            <a:extLst>
              <a:ext uri="{FF2B5EF4-FFF2-40B4-BE49-F238E27FC236}">
                <a16:creationId xmlns:a16="http://schemas.microsoft.com/office/drawing/2014/main" id="{04772FF4-1927-EA06-CDE6-3BE366F2C205}"/>
              </a:ext>
            </a:extLst>
          </p:cNvPr>
          <p:cNvPicPr>
            <a:picLocks noChangeAspect="1"/>
          </p:cNvPicPr>
          <p:nvPr/>
        </p:nvPicPr>
        <p:blipFill>
          <a:blip r:embed="rId47"/>
          <a:stretch>
            <a:fillRect/>
          </a:stretch>
        </p:blipFill>
        <p:spPr>
          <a:xfrm>
            <a:off x="4419662" y="5279456"/>
            <a:ext cx="1300499" cy="575526"/>
          </a:xfrm>
          <a:prstGeom prst="rect">
            <a:avLst/>
          </a:prstGeom>
        </p:spPr>
      </p:pic>
      <p:pic>
        <p:nvPicPr>
          <p:cNvPr id="1026" name="Picture 2" descr="CrowdStrike Falcon">
            <a:extLst>
              <a:ext uri="{FF2B5EF4-FFF2-40B4-BE49-F238E27FC236}">
                <a16:creationId xmlns:a16="http://schemas.microsoft.com/office/drawing/2014/main" id="{E8F97075-DCC5-0C8E-8F23-D096C0FB32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92401" y="2401163"/>
            <a:ext cx="1655889" cy="866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Proofpoint">
            <a:extLst>
              <a:ext uri="{FF2B5EF4-FFF2-40B4-BE49-F238E27FC236}">
                <a16:creationId xmlns:a16="http://schemas.microsoft.com/office/drawing/2014/main" id="{F608ECF8-1A14-C3D5-C7AF-2BF2B49D7C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30440" y="4664717"/>
            <a:ext cx="1929104" cy="6655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702905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7C2ABAB-403C-F2BB-E95E-F5156483F6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8EA164C-1169-04A7-8237-1C284C33EDDF}"/>
              </a:ext>
            </a:extLst>
          </p:cNvPr>
          <p:cNvSpPr txBox="1">
            <a:spLocks/>
          </p:cNvSpPr>
          <p:nvPr/>
        </p:nvSpPr>
        <p:spPr>
          <a:xfrm>
            <a:off x="1251740" y="450737"/>
            <a:ext cx="10118993" cy="4616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1" kern="1200" spc="1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>
                <a:solidFill>
                  <a:schemeClr val="bg1"/>
                </a:solidFill>
                <a:effectLst>
                  <a:outerShdw blurRad="76200" dist="63500" dir="2700000" algn="tl" rotWithShape="0">
                    <a:schemeClr val="tx1">
                      <a:alpha val="40000"/>
                    </a:schemeClr>
                  </a:outerShdw>
                </a:effectLst>
              </a:rPr>
              <a:t>IPDS Infrastructure Optimization Service (IOS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8C106B-17E8-DE7B-9887-9E94BA8D171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00103" y="394392"/>
            <a:ext cx="723793" cy="688878"/>
          </a:xfrm>
          <a:prstGeom prst="rect">
            <a:avLst/>
          </a:prstGeom>
        </p:spPr>
      </p:pic>
      <p:sp>
        <p:nvSpPr>
          <p:cNvPr id="2" name="AutoShape 3"/>
          <p:cNvSpPr/>
          <p:nvPr/>
        </p:nvSpPr>
        <p:spPr>
          <a:xfrm>
            <a:off x="2285624" y="1229849"/>
            <a:ext cx="7620751" cy="1895580"/>
          </a:xfrm>
          <a:prstGeom prst="rect">
            <a:avLst/>
          </a:prstGeom>
          <a:solidFill>
            <a:schemeClr val="tx1">
              <a:alpha val="49804"/>
            </a:schemeClr>
          </a:solidFill>
        </p:spPr>
        <p:txBody>
          <a:bodyPr/>
          <a:lstStyle/>
          <a:p>
            <a:endParaRPr lang="en-US" sz="1200"/>
          </a:p>
        </p:txBody>
      </p:sp>
      <p:grpSp>
        <p:nvGrpSpPr>
          <p:cNvPr id="4" name="Group 4"/>
          <p:cNvGrpSpPr/>
          <p:nvPr/>
        </p:nvGrpSpPr>
        <p:grpSpPr>
          <a:xfrm rot="5400000">
            <a:off x="5148209" y="-1632736"/>
            <a:ext cx="1895580" cy="7620751"/>
            <a:chOff x="0" y="0"/>
            <a:chExt cx="2200623" cy="8847106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2200623" cy="8847106"/>
            </a:xfrm>
            <a:custGeom>
              <a:avLst/>
              <a:gdLst/>
              <a:ahLst/>
              <a:cxnLst/>
              <a:rect l="l" t="t" r="r" b="b"/>
              <a:pathLst>
                <a:path w="2200623" h="8847106">
                  <a:moveTo>
                    <a:pt x="2200623" y="279400"/>
                  </a:moveTo>
                  <a:lnTo>
                    <a:pt x="2200623" y="0"/>
                  </a:lnTo>
                  <a:lnTo>
                    <a:pt x="0" y="0"/>
                  </a:lnTo>
                  <a:lnTo>
                    <a:pt x="0" y="8847106"/>
                  </a:lnTo>
                  <a:lnTo>
                    <a:pt x="2200623" y="8847106"/>
                  </a:lnTo>
                  <a:lnTo>
                    <a:pt x="2200623" y="279400"/>
                  </a:lnTo>
                  <a:close/>
                  <a:moveTo>
                    <a:pt x="2121883" y="279400"/>
                  </a:moveTo>
                  <a:lnTo>
                    <a:pt x="2121883" y="8768366"/>
                  </a:lnTo>
                  <a:lnTo>
                    <a:pt x="78740" y="8768366"/>
                  </a:lnTo>
                  <a:lnTo>
                    <a:pt x="78740" y="78740"/>
                  </a:lnTo>
                  <a:lnTo>
                    <a:pt x="2121883" y="78740"/>
                  </a:lnTo>
                  <a:lnTo>
                    <a:pt x="2121883" y="279400"/>
                  </a:lnTo>
                  <a:close/>
                </a:path>
              </a:pathLst>
            </a:custGeom>
            <a:solidFill>
              <a:srgbClr val="55B74E"/>
            </a:solidFill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6" name="TextBox 6"/>
          <p:cNvSpPr txBox="1"/>
          <p:nvPr/>
        </p:nvSpPr>
        <p:spPr>
          <a:xfrm>
            <a:off x="2655337" y="1403079"/>
            <a:ext cx="6618025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0"/>
              </a:lnSpc>
            </a:pPr>
            <a:r>
              <a:rPr lang="en-US" sz="3667" b="1" spc="183">
                <a:solidFill>
                  <a:srgbClr val="ECEFEB"/>
                </a:solidFill>
                <a:latin typeface="Roboto Condensed Bold"/>
              </a:rPr>
              <a:t>IOS AT A GLANCE:</a:t>
            </a:r>
          </a:p>
        </p:txBody>
      </p:sp>
      <p:sp>
        <p:nvSpPr>
          <p:cNvPr id="9" name="TextBox 7"/>
          <p:cNvSpPr txBox="1"/>
          <p:nvPr/>
        </p:nvSpPr>
        <p:spPr>
          <a:xfrm>
            <a:off x="2582468" y="2037439"/>
            <a:ext cx="7027063" cy="92333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417"/>
              </a:lnSpc>
            </a:pPr>
            <a:r>
              <a:rPr lang="en-US" sz="2000" spc="167" dirty="0">
                <a:solidFill>
                  <a:srgbClr val="ECEFEB"/>
                </a:solidFill>
                <a:latin typeface="Aileron Regular"/>
              </a:rPr>
              <a:t>A </a:t>
            </a:r>
            <a:r>
              <a:rPr lang="en-US" sz="2000" spc="167" dirty="0">
                <a:solidFill>
                  <a:srgbClr val="ECEFEB"/>
                </a:solidFill>
                <a:latin typeface="Aileron Regular Bold"/>
              </a:rPr>
              <a:t>proactive </a:t>
            </a:r>
            <a:r>
              <a:rPr lang="en-US" sz="2000" spc="167" dirty="0">
                <a:solidFill>
                  <a:srgbClr val="ECEFEB"/>
                </a:solidFill>
                <a:latin typeface="Aileron Regular"/>
              </a:rPr>
              <a:t>annual</a:t>
            </a:r>
            <a:r>
              <a:rPr lang="en-US" sz="2000" spc="167" dirty="0">
                <a:solidFill>
                  <a:srgbClr val="499B36"/>
                </a:solidFill>
                <a:latin typeface="Aileron Regular"/>
              </a:rPr>
              <a:t> </a:t>
            </a:r>
            <a:r>
              <a:rPr lang="en-US" sz="2000" spc="167" dirty="0">
                <a:solidFill>
                  <a:srgbClr val="FFFFFF"/>
                </a:solidFill>
                <a:latin typeface="Aileron Regular"/>
              </a:rPr>
              <a:t>support contract </a:t>
            </a:r>
            <a:r>
              <a:rPr lang="en-US" sz="2000" spc="167" dirty="0">
                <a:solidFill>
                  <a:srgbClr val="ECEFEB"/>
                </a:solidFill>
                <a:latin typeface="Aileron Regular"/>
              </a:rPr>
              <a:t>that targets the health and optimization of infrastructure within your virtual data center environment. </a:t>
            </a:r>
          </a:p>
        </p:txBody>
      </p:sp>
      <p:sp>
        <p:nvSpPr>
          <p:cNvPr id="10" name="AutoShape 8"/>
          <p:cNvSpPr/>
          <p:nvPr/>
        </p:nvSpPr>
        <p:spPr>
          <a:xfrm>
            <a:off x="3397741" y="3611189"/>
            <a:ext cx="5362817" cy="2953523"/>
          </a:xfrm>
          <a:prstGeom prst="rect">
            <a:avLst/>
          </a:prstGeom>
          <a:solidFill>
            <a:srgbClr val="000000">
              <a:alpha val="49804"/>
            </a:srgbClr>
          </a:solidFill>
        </p:spPr>
        <p:txBody>
          <a:bodyPr/>
          <a:lstStyle/>
          <a:p>
            <a:endParaRPr lang="en-US" sz="1200"/>
          </a:p>
        </p:txBody>
      </p:sp>
      <p:grpSp>
        <p:nvGrpSpPr>
          <p:cNvPr id="11" name="Group 9"/>
          <p:cNvGrpSpPr/>
          <p:nvPr/>
        </p:nvGrpSpPr>
        <p:grpSpPr>
          <a:xfrm rot="5400000">
            <a:off x="4602388" y="2406542"/>
            <a:ext cx="2953523" cy="5362817"/>
            <a:chOff x="0" y="0"/>
            <a:chExt cx="3428814" cy="6225818"/>
          </a:xfrm>
        </p:grpSpPr>
        <p:sp>
          <p:nvSpPr>
            <p:cNvPr id="12" name="Freeform 10"/>
            <p:cNvSpPr/>
            <p:nvPr/>
          </p:nvSpPr>
          <p:spPr>
            <a:xfrm>
              <a:off x="0" y="0"/>
              <a:ext cx="3428814" cy="6225818"/>
            </a:xfrm>
            <a:custGeom>
              <a:avLst/>
              <a:gdLst/>
              <a:ahLst/>
              <a:cxnLst/>
              <a:rect l="l" t="t" r="r" b="b"/>
              <a:pathLst>
                <a:path w="3428814" h="6225818">
                  <a:moveTo>
                    <a:pt x="3428814" y="279400"/>
                  </a:moveTo>
                  <a:lnTo>
                    <a:pt x="3428814" y="0"/>
                  </a:lnTo>
                  <a:lnTo>
                    <a:pt x="0" y="0"/>
                  </a:lnTo>
                  <a:lnTo>
                    <a:pt x="0" y="6225818"/>
                  </a:lnTo>
                  <a:lnTo>
                    <a:pt x="3428814" y="6225818"/>
                  </a:lnTo>
                  <a:lnTo>
                    <a:pt x="3428814" y="279400"/>
                  </a:lnTo>
                  <a:close/>
                  <a:moveTo>
                    <a:pt x="3350073" y="279400"/>
                  </a:moveTo>
                  <a:lnTo>
                    <a:pt x="3350073" y="6147078"/>
                  </a:lnTo>
                  <a:lnTo>
                    <a:pt x="78740" y="6147078"/>
                  </a:lnTo>
                  <a:lnTo>
                    <a:pt x="78740" y="78740"/>
                  </a:lnTo>
                  <a:lnTo>
                    <a:pt x="3350073" y="78740"/>
                  </a:lnTo>
                  <a:lnTo>
                    <a:pt x="3350073" y="279400"/>
                  </a:lnTo>
                  <a:close/>
                </a:path>
              </a:pathLst>
            </a:custGeom>
            <a:solidFill>
              <a:srgbClr val="55B74E"/>
            </a:solidFill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13" name="TextBox 11"/>
          <p:cNvSpPr txBox="1"/>
          <p:nvPr/>
        </p:nvSpPr>
        <p:spPr>
          <a:xfrm>
            <a:off x="3810875" y="3828811"/>
            <a:ext cx="4552610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4400"/>
              </a:lnSpc>
            </a:pPr>
            <a:r>
              <a:rPr lang="en-US" sz="3667" b="1" spc="183">
                <a:solidFill>
                  <a:srgbClr val="ECEFEB"/>
                </a:solidFill>
                <a:latin typeface="Roboto Condensed Bold"/>
              </a:rPr>
              <a:t>WHAT WE DO:</a:t>
            </a:r>
          </a:p>
        </p:txBody>
      </p:sp>
      <p:sp>
        <p:nvSpPr>
          <p:cNvPr id="14" name="TextBox 12"/>
          <p:cNvSpPr txBox="1"/>
          <p:nvPr/>
        </p:nvSpPr>
        <p:spPr>
          <a:xfrm>
            <a:off x="3679049" y="4465144"/>
            <a:ext cx="4833901" cy="181844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59851" lvl="1" indent="-179926">
              <a:lnSpc>
                <a:spcPts val="2416"/>
              </a:lnSpc>
              <a:buFont typeface="Arial"/>
              <a:buChar char="•"/>
            </a:pPr>
            <a:r>
              <a:rPr lang="en-US" spc="166" dirty="0">
                <a:solidFill>
                  <a:srgbClr val="ECEFEB"/>
                </a:solidFill>
                <a:latin typeface="Aileron Regular"/>
              </a:rPr>
              <a:t>Compute Environments</a:t>
            </a:r>
          </a:p>
          <a:p>
            <a:pPr marL="359851" lvl="1" indent="-179926">
              <a:lnSpc>
                <a:spcPts val="2416"/>
              </a:lnSpc>
              <a:buFont typeface="Arial"/>
              <a:buChar char="•"/>
            </a:pPr>
            <a:r>
              <a:rPr lang="en-US" spc="166" dirty="0">
                <a:solidFill>
                  <a:srgbClr val="ECEFEB"/>
                </a:solidFill>
                <a:latin typeface="Aileron Regular"/>
              </a:rPr>
              <a:t>Block/File Storage Array(s)</a:t>
            </a:r>
          </a:p>
          <a:p>
            <a:pPr marL="359851" lvl="1" indent="-179926">
              <a:lnSpc>
                <a:spcPts val="2416"/>
              </a:lnSpc>
              <a:buFont typeface="Arial"/>
              <a:buChar char="•"/>
            </a:pPr>
            <a:r>
              <a:rPr lang="en-US" spc="166" dirty="0">
                <a:solidFill>
                  <a:srgbClr val="ECEFEB"/>
                </a:solidFill>
                <a:latin typeface="Aileron Regular"/>
              </a:rPr>
              <a:t>Hyperconverged Infrastructure</a:t>
            </a:r>
          </a:p>
          <a:p>
            <a:pPr marL="359851" lvl="1" indent="-179926">
              <a:lnSpc>
                <a:spcPts val="2416"/>
              </a:lnSpc>
              <a:buFont typeface="Arial"/>
              <a:buChar char="•"/>
            </a:pPr>
            <a:r>
              <a:rPr lang="en-US" spc="166" dirty="0">
                <a:solidFill>
                  <a:srgbClr val="ECEFEB"/>
                </a:solidFill>
                <a:latin typeface="Aileron Regular"/>
              </a:rPr>
              <a:t>Virtualization – VMware, etc.</a:t>
            </a:r>
          </a:p>
          <a:p>
            <a:pPr marL="359851" lvl="1" indent="-179926">
              <a:lnSpc>
                <a:spcPts val="2416"/>
              </a:lnSpc>
              <a:buFont typeface="Arial"/>
              <a:buChar char="•"/>
            </a:pPr>
            <a:r>
              <a:rPr lang="en-US" spc="166" dirty="0">
                <a:solidFill>
                  <a:srgbClr val="ECEFEB"/>
                </a:solidFill>
                <a:latin typeface="Aileron Regular"/>
              </a:rPr>
              <a:t>Data Protection/Backup Environments</a:t>
            </a:r>
          </a:p>
          <a:p>
            <a:pPr marL="359851" lvl="1" indent="-179926">
              <a:lnSpc>
                <a:spcPts val="2417"/>
              </a:lnSpc>
              <a:buFont typeface="Arial"/>
              <a:buChar char="•"/>
            </a:pPr>
            <a:r>
              <a:rPr lang="en-US" spc="167" dirty="0">
                <a:solidFill>
                  <a:srgbClr val="ECEFEB"/>
                </a:solidFill>
                <a:latin typeface="Aileron Regular"/>
              </a:rPr>
              <a:t>SAN Fabric</a:t>
            </a:r>
          </a:p>
        </p:txBody>
      </p:sp>
      <p:pic>
        <p:nvPicPr>
          <p:cNvPr id="16" name="Picture 15" descr="A black and white logo&#10;&#10;Description automatically generated">
            <a:extLst>
              <a:ext uri="{FF2B5EF4-FFF2-40B4-BE49-F238E27FC236}">
                <a16:creationId xmlns:a16="http://schemas.microsoft.com/office/drawing/2014/main" id="{85E2EC3B-B391-FA4E-BFF9-0A0EC658C0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84545" y="6475810"/>
            <a:ext cx="762748" cy="26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30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/>
          </p:cNvPicPr>
          <p:nvPr/>
        </p:nvPicPr>
        <p:blipFill rotWithShape="1">
          <a:blip r:embed="rId2">
            <a:alphaModFix amt="5000"/>
          </a:blip>
          <a:srcRect t="-21094" b="-21094"/>
          <a:stretch/>
        </p:blipFill>
        <p:spPr>
          <a:xfrm>
            <a:off x="2849369" y="-1788712"/>
            <a:ext cx="9441403" cy="10435423"/>
          </a:xfrm>
          <a:prstGeom prst="rect">
            <a:avLst/>
          </a:prstGeom>
        </p:spPr>
      </p:pic>
      <p:grpSp>
        <p:nvGrpSpPr>
          <p:cNvPr id="3" name="Group 3"/>
          <p:cNvGrpSpPr/>
          <p:nvPr/>
        </p:nvGrpSpPr>
        <p:grpSpPr>
          <a:xfrm>
            <a:off x="3448200" y="1281005"/>
            <a:ext cx="2534137" cy="435007"/>
            <a:chOff x="0" y="0"/>
            <a:chExt cx="4385897" cy="752878"/>
          </a:xfrm>
        </p:grpSpPr>
        <p:sp>
          <p:nvSpPr>
            <p:cNvPr id="4" name="Freeform 4"/>
            <p:cNvSpPr/>
            <p:nvPr/>
          </p:nvSpPr>
          <p:spPr>
            <a:xfrm>
              <a:off x="0" y="0"/>
              <a:ext cx="4385897" cy="752878"/>
            </a:xfrm>
            <a:custGeom>
              <a:avLst/>
              <a:gdLst/>
              <a:ahLst/>
              <a:cxnLst/>
              <a:rect l="l" t="t" r="r" b="b"/>
              <a:pathLst>
                <a:path w="4385897" h="752878">
                  <a:moveTo>
                    <a:pt x="4261437" y="752878"/>
                  </a:moveTo>
                  <a:lnTo>
                    <a:pt x="124460" y="752878"/>
                  </a:lnTo>
                  <a:cubicBezTo>
                    <a:pt x="55880" y="752878"/>
                    <a:pt x="0" y="696998"/>
                    <a:pt x="0" y="628418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4261437" y="0"/>
                  </a:lnTo>
                  <a:cubicBezTo>
                    <a:pt x="4330017" y="0"/>
                    <a:pt x="4385897" y="55880"/>
                    <a:pt x="4385897" y="124460"/>
                  </a:cubicBezTo>
                  <a:lnTo>
                    <a:pt x="4385897" y="628418"/>
                  </a:lnTo>
                  <a:cubicBezTo>
                    <a:pt x="4385897" y="696998"/>
                    <a:pt x="4330017" y="752878"/>
                    <a:pt x="4261437" y="752878"/>
                  </a:cubicBezTo>
                  <a:close/>
                </a:path>
              </a:pathLst>
            </a:custGeom>
            <a:solidFill>
              <a:srgbClr val="B9DDE8"/>
            </a:solidFill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5" name="TextBox 5"/>
          <p:cNvSpPr txBox="1"/>
          <p:nvPr/>
        </p:nvSpPr>
        <p:spPr>
          <a:xfrm>
            <a:off x="3996146" y="1313723"/>
            <a:ext cx="1397389" cy="29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60"/>
              </a:lnSpc>
            </a:pPr>
            <a:r>
              <a:rPr lang="en-US" sz="1600" spc="193">
                <a:solidFill>
                  <a:srgbClr val="049290"/>
                </a:solidFill>
                <a:latin typeface="Aileron Regular Bold"/>
              </a:rPr>
              <a:t>MONTHLY</a:t>
            </a:r>
          </a:p>
        </p:txBody>
      </p:sp>
      <p:grpSp>
        <p:nvGrpSpPr>
          <p:cNvPr id="6" name="Group 6"/>
          <p:cNvGrpSpPr/>
          <p:nvPr/>
        </p:nvGrpSpPr>
        <p:grpSpPr>
          <a:xfrm>
            <a:off x="6191887" y="1281005"/>
            <a:ext cx="2582627" cy="435007"/>
            <a:chOff x="0" y="0"/>
            <a:chExt cx="4469821" cy="752878"/>
          </a:xfrm>
        </p:grpSpPr>
        <p:sp>
          <p:nvSpPr>
            <p:cNvPr id="7" name="Freeform 7"/>
            <p:cNvSpPr/>
            <p:nvPr/>
          </p:nvSpPr>
          <p:spPr>
            <a:xfrm>
              <a:off x="0" y="0"/>
              <a:ext cx="4469821" cy="752878"/>
            </a:xfrm>
            <a:custGeom>
              <a:avLst/>
              <a:gdLst/>
              <a:ahLst/>
              <a:cxnLst/>
              <a:rect l="l" t="t" r="r" b="b"/>
              <a:pathLst>
                <a:path w="4469821" h="752878">
                  <a:moveTo>
                    <a:pt x="4345361" y="752878"/>
                  </a:moveTo>
                  <a:lnTo>
                    <a:pt x="124460" y="752878"/>
                  </a:lnTo>
                  <a:cubicBezTo>
                    <a:pt x="55880" y="752878"/>
                    <a:pt x="0" y="696998"/>
                    <a:pt x="0" y="628418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4345362" y="0"/>
                  </a:lnTo>
                  <a:cubicBezTo>
                    <a:pt x="4413941" y="0"/>
                    <a:pt x="4469821" y="55880"/>
                    <a:pt x="4469821" y="124460"/>
                  </a:cubicBezTo>
                  <a:lnTo>
                    <a:pt x="4469821" y="628418"/>
                  </a:lnTo>
                  <a:cubicBezTo>
                    <a:pt x="4469821" y="696998"/>
                    <a:pt x="4413941" y="752878"/>
                    <a:pt x="4345362" y="752878"/>
                  </a:cubicBezTo>
                  <a:close/>
                </a:path>
              </a:pathLst>
            </a:custGeom>
            <a:solidFill>
              <a:srgbClr val="88C4CF"/>
            </a:solid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8" name="Group 8"/>
          <p:cNvGrpSpPr/>
          <p:nvPr/>
        </p:nvGrpSpPr>
        <p:grpSpPr>
          <a:xfrm>
            <a:off x="8984656" y="1281005"/>
            <a:ext cx="2551761" cy="435007"/>
            <a:chOff x="0" y="0"/>
            <a:chExt cx="4416401" cy="752878"/>
          </a:xfrm>
        </p:grpSpPr>
        <p:sp>
          <p:nvSpPr>
            <p:cNvPr id="9" name="Freeform 9"/>
            <p:cNvSpPr/>
            <p:nvPr/>
          </p:nvSpPr>
          <p:spPr>
            <a:xfrm>
              <a:off x="0" y="0"/>
              <a:ext cx="4416401" cy="752878"/>
            </a:xfrm>
            <a:custGeom>
              <a:avLst/>
              <a:gdLst/>
              <a:ahLst/>
              <a:cxnLst/>
              <a:rect l="l" t="t" r="r" b="b"/>
              <a:pathLst>
                <a:path w="4416401" h="752878">
                  <a:moveTo>
                    <a:pt x="4291940" y="752878"/>
                  </a:moveTo>
                  <a:lnTo>
                    <a:pt x="124460" y="752878"/>
                  </a:lnTo>
                  <a:cubicBezTo>
                    <a:pt x="55880" y="752878"/>
                    <a:pt x="0" y="696998"/>
                    <a:pt x="0" y="628418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4291941" y="0"/>
                  </a:lnTo>
                  <a:cubicBezTo>
                    <a:pt x="4360521" y="0"/>
                    <a:pt x="4416401" y="55880"/>
                    <a:pt x="4416401" y="124460"/>
                  </a:cubicBezTo>
                  <a:lnTo>
                    <a:pt x="4416401" y="628418"/>
                  </a:lnTo>
                  <a:cubicBezTo>
                    <a:pt x="4416401" y="696998"/>
                    <a:pt x="4360521" y="752878"/>
                    <a:pt x="4291941" y="752878"/>
                  </a:cubicBezTo>
                  <a:close/>
                </a:path>
              </a:pathLst>
            </a:custGeom>
            <a:solidFill>
              <a:srgbClr val="55ABB1"/>
            </a:solidFill>
          </p:spPr>
          <p:txBody>
            <a:bodyPr/>
            <a:lstStyle/>
            <a:p>
              <a:endParaRPr lang="en-US" sz="1200"/>
            </a:p>
          </p:txBody>
        </p:sp>
      </p:grpSp>
      <p:grpSp>
        <p:nvGrpSpPr>
          <p:cNvPr id="10" name="Group 10"/>
          <p:cNvGrpSpPr/>
          <p:nvPr/>
        </p:nvGrpSpPr>
        <p:grpSpPr>
          <a:xfrm>
            <a:off x="673128" y="1281005"/>
            <a:ext cx="2565521" cy="435007"/>
            <a:chOff x="0" y="0"/>
            <a:chExt cx="4440215" cy="752878"/>
          </a:xfrm>
        </p:grpSpPr>
        <p:sp>
          <p:nvSpPr>
            <p:cNvPr id="11" name="Freeform 11"/>
            <p:cNvSpPr/>
            <p:nvPr/>
          </p:nvSpPr>
          <p:spPr>
            <a:xfrm>
              <a:off x="0" y="0"/>
              <a:ext cx="4440215" cy="752878"/>
            </a:xfrm>
            <a:custGeom>
              <a:avLst/>
              <a:gdLst/>
              <a:ahLst/>
              <a:cxnLst/>
              <a:rect l="l" t="t" r="r" b="b"/>
              <a:pathLst>
                <a:path w="4440215" h="752878">
                  <a:moveTo>
                    <a:pt x="4315755" y="752878"/>
                  </a:moveTo>
                  <a:lnTo>
                    <a:pt x="124460" y="752878"/>
                  </a:lnTo>
                  <a:cubicBezTo>
                    <a:pt x="55880" y="752878"/>
                    <a:pt x="0" y="696998"/>
                    <a:pt x="0" y="628418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4315756" y="0"/>
                  </a:lnTo>
                  <a:cubicBezTo>
                    <a:pt x="4384335" y="0"/>
                    <a:pt x="4440215" y="55880"/>
                    <a:pt x="4440215" y="124460"/>
                  </a:cubicBezTo>
                  <a:lnTo>
                    <a:pt x="4440215" y="628418"/>
                  </a:lnTo>
                  <a:cubicBezTo>
                    <a:pt x="4440215" y="696998"/>
                    <a:pt x="4384335" y="752878"/>
                    <a:pt x="4315756" y="752878"/>
                  </a:cubicBezTo>
                  <a:close/>
                </a:path>
              </a:pathLst>
            </a:custGeom>
            <a:solidFill>
              <a:srgbClr val="E7F7FF"/>
            </a:solidFill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12" name="TextBox 12"/>
          <p:cNvSpPr txBox="1"/>
          <p:nvPr/>
        </p:nvSpPr>
        <p:spPr>
          <a:xfrm>
            <a:off x="6708444" y="1313723"/>
            <a:ext cx="1549512" cy="29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60"/>
              </a:lnSpc>
            </a:pPr>
            <a:r>
              <a:rPr lang="en-US" sz="1600" spc="193">
                <a:solidFill>
                  <a:srgbClr val="FFFFFF"/>
                </a:solidFill>
                <a:latin typeface="Aileron Regular Bold"/>
              </a:rPr>
              <a:t>QUARTERLY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9561842" y="1313723"/>
            <a:ext cx="1397389" cy="29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60"/>
              </a:lnSpc>
            </a:pPr>
            <a:r>
              <a:rPr lang="en-US" sz="1600" spc="193">
                <a:solidFill>
                  <a:srgbClr val="FFFFFF"/>
                </a:solidFill>
                <a:latin typeface="Aileron Regular Bold"/>
              </a:rPr>
              <a:t>ANNUAL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1030536" y="1313723"/>
            <a:ext cx="1815617" cy="29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60"/>
              </a:lnSpc>
            </a:pPr>
            <a:r>
              <a:rPr lang="en-US" sz="1600" spc="193">
                <a:solidFill>
                  <a:srgbClr val="049290"/>
                </a:solidFill>
                <a:latin typeface="Aileron Regular Bold"/>
              </a:rPr>
              <a:t>ONBOARDING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3448200" y="1910221"/>
            <a:ext cx="2534137" cy="12615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291348" lvl="1" indent="-145674">
              <a:lnSpc>
                <a:spcPts val="2024"/>
              </a:lnSpc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Remotely collect data </a:t>
            </a:r>
          </a:p>
          <a:p>
            <a:pPr marL="291348" lvl="1" indent="-145674">
              <a:lnSpc>
                <a:spcPts val="2024"/>
              </a:lnSpc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Proactively analyze and identify anomalies and issues that require immediate follow-up</a:t>
            </a:r>
          </a:p>
        </p:txBody>
      </p:sp>
      <p:grpSp>
        <p:nvGrpSpPr>
          <p:cNvPr id="16" name="Group 16"/>
          <p:cNvGrpSpPr/>
          <p:nvPr/>
        </p:nvGrpSpPr>
        <p:grpSpPr>
          <a:xfrm>
            <a:off x="731034" y="4968209"/>
            <a:ext cx="10729934" cy="435007"/>
            <a:chOff x="0" y="0"/>
            <a:chExt cx="18570578" cy="752878"/>
          </a:xfrm>
        </p:grpSpPr>
        <p:sp>
          <p:nvSpPr>
            <p:cNvPr id="17" name="Freeform 17"/>
            <p:cNvSpPr/>
            <p:nvPr/>
          </p:nvSpPr>
          <p:spPr>
            <a:xfrm>
              <a:off x="0" y="0"/>
              <a:ext cx="18570578" cy="752878"/>
            </a:xfrm>
            <a:custGeom>
              <a:avLst/>
              <a:gdLst/>
              <a:ahLst/>
              <a:cxnLst/>
              <a:rect l="l" t="t" r="r" b="b"/>
              <a:pathLst>
                <a:path w="18570578" h="752878">
                  <a:moveTo>
                    <a:pt x="18446117" y="752878"/>
                  </a:moveTo>
                  <a:lnTo>
                    <a:pt x="124460" y="752878"/>
                  </a:lnTo>
                  <a:cubicBezTo>
                    <a:pt x="55880" y="752878"/>
                    <a:pt x="0" y="696998"/>
                    <a:pt x="0" y="628418"/>
                  </a:cubicBezTo>
                  <a:lnTo>
                    <a:pt x="0" y="124460"/>
                  </a:lnTo>
                  <a:cubicBezTo>
                    <a:pt x="0" y="55880"/>
                    <a:pt x="55880" y="0"/>
                    <a:pt x="124460" y="0"/>
                  </a:cubicBezTo>
                  <a:lnTo>
                    <a:pt x="18446117" y="0"/>
                  </a:lnTo>
                  <a:cubicBezTo>
                    <a:pt x="18514698" y="0"/>
                    <a:pt x="18570578" y="55880"/>
                    <a:pt x="18570578" y="124460"/>
                  </a:cubicBezTo>
                  <a:lnTo>
                    <a:pt x="18570578" y="628418"/>
                  </a:lnTo>
                  <a:cubicBezTo>
                    <a:pt x="18570578" y="696998"/>
                    <a:pt x="18514698" y="752878"/>
                    <a:pt x="18446117" y="752878"/>
                  </a:cubicBezTo>
                  <a:close/>
                </a:path>
              </a:pathLst>
            </a:custGeom>
            <a:solidFill>
              <a:srgbClr val="049290"/>
            </a:solidFill>
          </p:spPr>
          <p:txBody>
            <a:bodyPr/>
            <a:lstStyle/>
            <a:p>
              <a:endParaRPr lang="en-US" sz="1200"/>
            </a:p>
          </p:txBody>
        </p:sp>
      </p:grpSp>
      <p:sp>
        <p:nvSpPr>
          <p:cNvPr id="18" name="TextBox 18"/>
          <p:cNvSpPr txBox="1"/>
          <p:nvPr/>
        </p:nvSpPr>
        <p:spPr>
          <a:xfrm>
            <a:off x="3808517" y="4958592"/>
            <a:ext cx="4187927" cy="29674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ctr">
              <a:lnSpc>
                <a:spcPts val="2560"/>
              </a:lnSpc>
            </a:pPr>
            <a:r>
              <a:rPr lang="en-US" sz="1600" spc="193" dirty="0">
                <a:solidFill>
                  <a:srgbClr val="FFFFFF"/>
                </a:solidFill>
                <a:latin typeface="Aileron Regular Bold"/>
              </a:rPr>
              <a:t>ONGOING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953679" y="5525648"/>
            <a:ext cx="6057315" cy="1005083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291348" lvl="1" indent="-145674">
              <a:lnSpc>
                <a:spcPts val="2024"/>
              </a:lnSpc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Configuration and usage questions</a:t>
            </a:r>
          </a:p>
          <a:p>
            <a:pPr marL="291348" lvl="1" indent="-145674">
              <a:lnSpc>
                <a:spcPts val="2024"/>
              </a:lnSpc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Assistance with vendor and product related problem escalation</a:t>
            </a:r>
          </a:p>
          <a:p>
            <a:pPr marL="291348" lvl="1" indent="-145674">
              <a:lnSpc>
                <a:spcPts val="2024"/>
              </a:lnSpc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Ongoing knowledge transfer</a:t>
            </a:r>
          </a:p>
          <a:p>
            <a:pPr marL="291348" lvl="1" indent="-145674">
              <a:lnSpc>
                <a:spcPts val="2024"/>
              </a:lnSpc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PDS remediation services are available to correct any identified issues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242236" y="1910221"/>
            <a:ext cx="2551761" cy="280371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marL="291348" lvl="1" indent="-145674">
              <a:lnSpc>
                <a:spcPts val="2024"/>
              </a:lnSpc>
              <a:buFont typeface="Arial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Formal meeting to review: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/>
              <a:t>Asset details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/>
              <a:t>System health, capacity and performance metrics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/>
              <a:t>Log/License review *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/>
              <a:t>Review of local/remote replication *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/>
              <a:t>Findings summary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/>
              <a:t>IPDS recommended "best practices" 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/>
              <a:t>Next steps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55583" y="1910221"/>
            <a:ext cx="2565521" cy="12615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291348" lvl="1" indent="-145674">
              <a:lnSpc>
                <a:spcPts val="2024"/>
              </a:lnSpc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Inventory assets included in IOS support contract</a:t>
            </a:r>
          </a:p>
          <a:p>
            <a:pPr marL="291348" lvl="1" indent="-145674">
              <a:lnSpc>
                <a:spcPts val="2024"/>
              </a:lnSpc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Quarterly meetings scheduled by PMO</a:t>
            </a:r>
          </a:p>
          <a:p>
            <a:pPr marL="291348" lvl="1" indent="-145674">
              <a:lnSpc>
                <a:spcPts val="2024"/>
              </a:lnSpc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Enable IPDS remote access</a:t>
            </a:r>
          </a:p>
        </p:txBody>
      </p:sp>
      <p:sp>
        <p:nvSpPr>
          <p:cNvPr id="22" name="TextBox 22"/>
          <p:cNvSpPr txBox="1"/>
          <p:nvPr/>
        </p:nvSpPr>
        <p:spPr>
          <a:xfrm>
            <a:off x="8954439" y="1910221"/>
            <a:ext cx="2551761" cy="305853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291348" lvl="1" indent="-145674">
              <a:lnSpc>
                <a:spcPts val="2024"/>
              </a:lnSpc>
              <a:buFont typeface="Arial"/>
              <a:buChar char="•"/>
            </a:pPr>
            <a:r>
              <a:rPr lang="en-US" sz="1400" b="1" dirty="0">
                <a:solidFill>
                  <a:srgbClr val="000000"/>
                </a:solidFill>
              </a:rPr>
              <a:t>Includes everything in quarterly report, PLUS: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>
                <a:solidFill>
                  <a:srgbClr val="000000"/>
                </a:solidFill>
              </a:rPr>
              <a:t>Detailed health assessment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/>
              <a:t>Code/Firmware level recommendations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/>
              <a:t>Vendor technical/security advisories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>
                <a:solidFill>
                  <a:srgbClr val="000000"/>
                </a:solidFill>
              </a:rPr>
              <a:t>Vendor support status (EOL, EOSL, etc.)</a:t>
            </a:r>
          </a:p>
          <a:p>
            <a:pPr marL="582696" lvl="2" indent="-194232">
              <a:lnSpc>
                <a:spcPts val="2024"/>
              </a:lnSpc>
              <a:buFont typeface="Arial"/>
              <a:buChar char="⚬"/>
            </a:pPr>
            <a:r>
              <a:rPr lang="en-US" sz="1400" dirty="0">
                <a:solidFill>
                  <a:srgbClr val="000000"/>
                </a:solidFill>
              </a:rPr>
              <a:t>High-level refresh plan</a:t>
            </a:r>
          </a:p>
        </p:txBody>
      </p:sp>
      <p:pic>
        <p:nvPicPr>
          <p:cNvPr id="23" name="Picture 23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>
          <a:xfrm>
            <a:off x="622550" y="332811"/>
            <a:ext cx="785422" cy="805937"/>
          </a:xfrm>
          <a:prstGeom prst="rect">
            <a:avLst/>
          </a:prstGeom>
        </p:spPr>
      </p:pic>
      <p:sp>
        <p:nvSpPr>
          <p:cNvPr id="24" name="TextBox 24"/>
          <p:cNvSpPr txBox="1"/>
          <p:nvPr/>
        </p:nvSpPr>
        <p:spPr>
          <a:xfrm>
            <a:off x="1574533" y="442240"/>
            <a:ext cx="8567848" cy="52437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4438"/>
              </a:lnSpc>
            </a:pPr>
            <a:r>
              <a:rPr lang="en-US" sz="3467" spc="347">
                <a:solidFill>
                  <a:srgbClr val="000000"/>
                </a:solidFill>
                <a:latin typeface="Roboto Condensed Bold"/>
              </a:rPr>
              <a:t>WHAT IS INCLUDED?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077FC252-36AE-F7F1-F570-3FD4C78E8CC6}"/>
              </a:ext>
            </a:extLst>
          </p:cNvPr>
          <p:cNvSpPr txBox="1"/>
          <p:nvPr/>
        </p:nvSpPr>
        <p:spPr>
          <a:xfrm>
            <a:off x="9800662" y="6485077"/>
            <a:ext cx="173575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>
                <a:latin typeface="Roboto"/>
              </a:rPr>
              <a:t>* Where applicable</a:t>
            </a:r>
            <a:endParaRPr lang="en-US" sz="120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97C2ABAB-403C-F2BB-E95E-F5156483F69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8EA164C-1169-04A7-8237-1C284C33EDDF}"/>
              </a:ext>
            </a:extLst>
          </p:cNvPr>
          <p:cNvSpPr txBox="1">
            <a:spLocks/>
          </p:cNvSpPr>
          <p:nvPr/>
        </p:nvSpPr>
        <p:spPr>
          <a:xfrm>
            <a:off x="1251740" y="450737"/>
            <a:ext cx="10118993" cy="461665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0" tIns="0" rIns="0" bIns="0" anchor="ctr">
            <a:noAutofit/>
          </a:bodyPr>
          <a:lstStyle>
            <a:lvl1pPr marL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1" kern="1200" spc="100" baseline="0" dirty="0" smtClean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100" normalizeH="0" baseline="0" noProof="0" dirty="0">
                <a:ln>
                  <a:noFill/>
                </a:ln>
                <a:solidFill>
                  <a:srgbClr val="FFFFFF"/>
                </a:solidFill>
                <a:effectLst>
                  <a:outerShdw blurRad="76200" dist="63500" dir="2700000" algn="tl" rotWithShape="0">
                    <a:srgbClr val="111314">
                      <a:alpha val="40000"/>
                    </a:srgbClr>
                  </a:outerShdw>
                </a:effectLst>
                <a:uLnTx/>
                <a:uFillTx/>
                <a:latin typeface="Bierstadt"/>
                <a:ea typeface="+mj-ea"/>
                <a:cs typeface="+mj-cs"/>
              </a:rPr>
              <a:t>IPDS Managed Data Protection (MDP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D8C106B-17E8-DE7B-9887-9E94BA8D1713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00103" y="394392"/>
            <a:ext cx="723793" cy="688878"/>
          </a:xfrm>
          <a:prstGeom prst="rect">
            <a:avLst/>
          </a:prstGeom>
        </p:spPr>
      </p:pic>
      <p:sp>
        <p:nvSpPr>
          <p:cNvPr id="2" name="AutoShape 3"/>
          <p:cNvSpPr/>
          <p:nvPr/>
        </p:nvSpPr>
        <p:spPr>
          <a:xfrm>
            <a:off x="2285624" y="1229849"/>
            <a:ext cx="7620751" cy="1895580"/>
          </a:xfrm>
          <a:prstGeom prst="rect">
            <a:avLst/>
          </a:prstGeom>
          <a:solidFill>
            <a:schemeClr val="tx1">
              <a:alpha val="49804"/>
            </a:scheme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11314"/>
              </a:solidFill>
              <a:effectLst/>
              <a:uLnTx/>
              <a:uFillTx/>
              <a:latin typeface="Bierstadt"/>
              <a:ea typeface="+mn-ea"/>
              <a:cs typeface="+mn-cs"/>
            </a:endParaRPr>
          </a:p>
        </p:txBody>
      </p:sp>
      <p:grpSp>
        <p:nvGrpSpPr>
          <p:cNvPr id="4" name="Group 4"/>
          <p:cNvGrpSpPr/>
          <p:nvPr/>
        </p:nvGrpSpPr>
        <p:grpSpPr>
          <a:xfrm rot="5400000">
            <a:off x="5148209" y="-1632736"/>
            <a:ext cx="1895580" cy="7620751"/>
            <a:chOff x="0" y="0"/>
            <a:chExt cx="2200623" cy="8847106"/>
          </a:xfrm>
        </p:grpSpPr>
        <p:sp>
          <p:nvSpPr>
            <p:cNvPr id="5" name="Freeform 5"/>
            <p:cNvSpPr/>
            <p:nvPr/>
          </p:nvSpPr>
          <p:spPr>
            <a:xfrm>
              <a:off x="0" y="0"/>
              <a:ext cx="2200623" cy="8847106"/>
            </a:xfrm>
            <a:custGeom>
              <a:avLst/>
              <a:gdLst/>
              <a:ahLst/>
              <a:cxnLst/>
              <a:rect l="l" t="t" r="r" b="b"/>
              <a:pathLst>
                <a:path w="2200623" h="8847106">
                  <a:moveTo>
                    <a:pt x="2200623" y="279400"/>
                  </a:moveTo>
                  <a:lnTo>
                    <a:pt x="2200623" y="0"/>
                  </a:lnTo>
                  <a:lnTo>
                    <a:pt x="0" y="0"/>
                  </a:lnTo>
                  <a:lnTo>
                    <a:pt x="0" y="8847106"/>
                  </a:lnTo>
                  <a:lnTo>
                    <a:pt x="2200623" y="8847106"/>
                  </a:lnTo>
                  <a:lnTo>
                    <a:pt x="2200623" y="279400"/>
                  </a:lnTo>
                  <a:close/>
                  <a:moveTo>
                    <a:pt x="2121883" y="279400"/>
                  </a:moveTo>
                  <a:lnTo>
                    <a:pt x="2121883" y="8768366"/>
                  </a:lnTo>
                  <a:lnTo>
                    <a:pt x="78740" y="8768366"/>
                  </a:lnTo>
                  <a:lnTo>
                    <a:pt x="78740" y="78740"/>
                  </a:lnTo>
                  <a:lnTo>
                    <a:pt x="2121883" y="78740"/>
                  </a:lnTo>
                  <a:lnTo>
                    <a:pt x="2121883" y="279400"/>
                  </a:lnTo>
                  <a:close/>
                </a:path>
              </a:pathLst>
            </a:custGeom>
            <a:solidFill>
              <a:srgbClr val="55B74E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11314"/>
                </a:solidFill>
                <a:effectLst/>
                <a:uLnTx/>
                <a:uFillTx/>
                <a:latin typeface="Bierstadt"/>
                <a:ea typeface="+mn-ea"/>
                <a:cs typeface="+mn-cs"/>
              </a:endParaRPr>
            </a:p>
          </p:txBody>
        </p:sp>
      </p:grpSp>
      <p:sp>
        <p:nvSpPr>
          <p:cNvPr id="6" name="TextBox 6"/>
          <p:cNvSpPr txBox="1"/>
          <p:nvPr/>
        </p:nvSpPr>
        <p:spPr>
          <a:xfrm>
            <a:off x="2655337" y="1403079"/>
            <a:ext cx="6618025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67" b="1" i="0" u="none" strike="noStrike" kern="1200" cap="none" spc="183" normalizeH="0" baseline="0" noProof="0" dirty="0">
                <a:ln>
                  <a:noFill/>
                </a:ln>
                <a:solidFill>
                  <a:srgbClr val="ECEFEB"/>
                </a:solidFill>
                <a:effectLst/>
                <a:uLnTx/>
                <a:uFillTx/>
                <a:latin typeface="Roboto Condensed Bold"/>
                <a:ea typeface="+mn-ea"/>
                <a:cs typeface="+mn-cs"/>
              </a:rPr>
              <a:t>MDP AT A GLANCE:</a:t>
            </a:r>
          </a:p>
        </p:txBody>
      </p:sp>
      <p:sp>
        <p:nvSpPr>
          <p:cNvPr id="9" name="TextBox 7"/>
          <p:cNvSpPr txBox="1"/>
          <p:nvPr/>
        </p:nvSpPr>
        <p:spPr>
          <a:xfrm>
            <a:off x="2599402" y="2037439"/>
            <a:ext cx="7027063" cy="92333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417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167" normalizeH="0" baseline="0" noProof="0" dirty="0">
                <a:ln>
                  <a:noFill/>
                </a:ln>
                <a:solidFill>
                  <a:srgbClr val="ECEFEB"/>
                </a:solidFill>
                <a:effectLst/>
                <a:uLnTx/>
                <a:uFillTx/>
                <a:latin typeface="Aileron Regular"/>
                <a:ea typeface="+mn-ea"/>
                <a:cs typeface="+mn-cs"/>
              </a:rPr>
              <a:t>A </a:t>
            </a:r>
            <a:r>
              <a:rPr kumimoji="0" lang="en-US" sz="2000" b="0" i="0" u="none" strike="noStrike" kern="1200" cap="none" spc="167" normalizeH="0" baseline="0" noProof="0" dirty="0">
                <a:ln>
                  <a:noFill/>
                </a:ln>
                <a:solidFill>
                  <a:srgbClr val="ECEFEB"/>
                </a:solidFill>
                <a:effectLst/>
                <a:uLnTx/>
                <a:uFillTx/>
                <a:latin typeface="Aileron Regular Bold"/>
                <a:ea typeface="+mn-ea"/>
                <a:cs typeface="+mn-cs"/>
              </a:rPr>
              <a:t>managed services </a:t>
            </a:r>
            <a:r>
              <a:rPr kumimoji="0" lang="en-US" sz="2000" b="0" i="0" u="none" strike="noStrike" kern="1200" cap="none" spc="167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ileron Regular"/>
                <a:ea typeface="+mn-ea"/>
                <a:cs typeface="+mn-cs"/>
              </a:rPr>
              <a:t>contract </a:t>
            </a:r>
            <a:r>
              <a:rPr kumimoji="0" lang="en-US" sz="2000" b="0" i="0" u="none" strike="noStrike" kern="1200" cap="none" spc="167" normalizeH="0" baseline="0" noProof="0" dirty="0">
                <a:ln>
                  <a:noFill/>
                </a:ln>
                <a:solidFill>
                  <a:srgbClr val="ECEFEB"/>
                </a:solidFill>
                <a:effectLst/>
                <a:uLnTx/>
                <a:uFillTx/>
                <a:latin typeface="Aileron Regular"/>
                <a:ea typeface="+mn-ea"/>
                <a:cs typeface="+mn-cs"/>
              </a:rPr>
              <a:t>that essentially outsources the day-to-day management of your entire backup environment to IPDS. </a:t>
            </a:r>
          </a:p>
        </p:txBody>
      </p:sp>
      <p:sp>
        <p:nvSpPr>
          <p:cNvPr id="10" name="AutoShape 8"/>
          <p:cNvSpPr/>
          <p:nvPr/>
        </p:nvSpPr>
        <p:spPr>
          <a:xfrm>
            <a:off x="3397741" y="3611189"/>
            <a:ext cx="5362817" cy="2953523"/>
          </a:xfrm>
          <a:prstGeom prst="rect">
            <a:avLst/>
          </a:prstGeom>
          <a:solidFill>
            <a:srgbClr val="000000">
              <a:alpha val="49804"/>
            </a:srgbClr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111314"/>
              </a:solidFill>
              <a:effectLst/>
              <a:uLnTx/>
              <a:uFillTx/>
              <a:latin typeface="Bierstadt"/>
              <a:ea typeface="+mn-ea"/>
              <a:cs typeface="+mn-cs"/>
            </a:endParaRPr>
          </a:p>
        </p:txBody>
      </p:sp>
      <p:grpSp>
        <p:nvGrpSpPr>
          <p:cNvPr id="11" name="Group 9"/>
          <p:cNvGrpSpPr/>
          <p:nvPr/>
        </p:nvGrpSpPr>
        <p:grpSpPr>
          <a:xfrm rot="5400000">
            <a:off x="4602388" y="2406542"/>
            <a:ext cx="2953523" cy="5362817"/>
            <a:chOff x="0" y="0"/>
            <a:chExt cx="3428814" cy="6225818"/>
          </a:xfrm>
        </p:grpSpPr>
        <p:sp>
          <p:nvSpPr>
            <p:cNvPr id="12" name="Freeform 10"/>
            <p:cNvSpPr/>
            <p:nvPr/>
          </p:nvSpPr>
          <p:spPr>
            <a:xfrm>
              <a:off x="0" y="0"/>
              <a:ext cx="3428814" cy="6225818"/>
            </a:xfrm>
            <a:custGeom>
              <a:avLst/>
              <a:gdLst/>
              <a:ahLst/>
              <a:cxnLst/>
              <a:rect l="l" t="t" r="r" b="b"/>
              <a:pathLst>
                <a:path w="3428814" h="6225818">
                  <a:moveTo>
                    <a:pt x="3428814" y="279400"/>
                  </a:moveTo>
                  <a:lnTo>
                    <a:pt x="3428814" y="0"/>
                  </a:lnTo>
                  <a:lnTo>
                    <a:pt x="0" y="0"/>
                  </a:lnTo>
                  <a:lnTo>
                    <a:pt x="0" y="6225818"/>
                  </a:lnTo>
                  <a:lnTo>
                    <a:pt x="3428814" y="6225818"/>
                  </a:lnTo>
                  <a:lnTo>
                    <a:pt x="3428814" y="279400"/>
                  </a:lnTo>
                  <a:close/>
                  <a:moveTo>
                    <a:pt x="3350073" y="279400"/>
                  </a:moveTo>
                  <a:lnTo>
                    <a:pt x="3350073" y="6147078"/>
                  </a:lnTo>
                  <a:lnTo>
                    <a:pt x="78740" y="6147078"/>
                  </a:lnTo>
                  <a:lnTo>
                    <a:pt x="78740" y="78740"/>
                  </a:lnTo>
                  <a:lnTo>
                    <a:pt x="3350073" y="78740"/>
                  </a:lnTo>
                  <a:lnTo>
                    <a:pt x="3350073" y="279400"/>
                  </a:lnTo>
                  <a:close/>
                </a:path>
              </a:pathLst>
            </a:custGeom>
            <a:solidFill>
              <a:srgbClr val="55B74E"/>
            </a:solidFill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111314"/>
                </a:solidFill>
                <a:effectLst/>
                <a:uLnTx/>
                <a:uFillTx/>
                <a:latin typeface="Bierstadt"/>
                <a:ea typeface="+mn-ea"/>
                <a:cs typeface="+mn-cs"/>
              </a:endParaRPr>
            </a:p>
          </p:txBody>
        </p:sp>
      </p:grpSp>
      <p:sp>
        <p:nvSpPr>
          <p:cNvPr id="13" name="TextBox 11"/>
          <p:cNvSpPr txBox="1"/>
          <p:nvPr/>
        </p:nvSpPr>
        <p:spPr>
          <a:xfrm>
            <a:off x="3810875" y="3828811"/>
            <a:ext cx="4552610" cy="56425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44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667" b="1" i="0" u="none" strike="noStrike" kern="1200" cap="none" spc="183" normalizeH="0" baseline="0" noProof="0">
                <a:ln>
                  <a:noFill/>
                </a:ln>
                <a:solidFill>
                  <a:srgbClr val="ECEFEB"/>
                </a:solidFill>
                <a:effectLst/>
                <a:uLnTx/>
                <a:uFillTx/>
                <a:latin typeface="Roboto Condensed Bold"/>
                <a:ea typeface="+mn-ea"/>
                <a:cs typeface="+mn-cs"/>
              </a:rPr>
              <a:t>WHAT WE DO:</a:t>
            </a:r>
          </a:p>
        </p:txBody>
      </p:sp>
      <p:sp>
        <p:nvSpPr>
          <p:cNvPr id="14" name="TextBox 12"/>
          <p:cNvSpPr txBox="1"/>
          <p:nvPr/>
        </p:nvSpPr>
        <p:spPr>
          <a:xfrm>
            <a:off x="3679049" y="4465144"/>
            <a:ext cx="4833901" cy="2138406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marL="359851" marR="0" lvl="1" indent="-179926" algn="l" defTabSz="914400" rtl="0" eaLnBrk="1" fontAlgn="auto" latinLnBrk="0" hangingPunct="1">
              <a:lnSpc>
                <a:spcPts val="241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pc="166" dirty="0">
                <a:solidFill>
                  <a:srgbClr val="ECEFEB"/>
                </a:solidFill>
                <a:latin typeface="Aileron Regular"/>
              </a:rPr>
              <a:t>Implement Backup Solutions</a:t>
            </a:r>
            <a:endParaRPr kumimoji="0" lang="en-US" sz="1800" b="0" i="0" u="none" strike="noStrike" kern="1200" cap="none" spc="166" normalizeH="0" baseline="0" noProof="0" dirty="0">
              <a:ln>
                <a:noFill/>
              </a:ln>
              <a:solidFill>
                <a:srgbClr val="ECEFEB"/>
              </a:solidFill>
              <a:effectLst/>
              <a:uLnTx/>
              <a:uFillTx/>
              <a:latin typeface="Aileron Regular"/>
              <a:ea typeface="+mn-ea"/>
              <a:cs typeface="+mn-cs"/>
            </a:endParaRPr>
          </a:p>
          <a:p>
            <a:pPr marL="359851" marR="0" lvl="1" indent="-179926" algn="l" defTabSz="914400" rtl="0" eaLnBrk="1" fontAlgn="auto" latinLnBrk="0" hangingPunct="1">
              <a:lnSpc>
                <a:spcPts val="241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166" normalizeH="0" baseline="0" noProof="0" dirty="0">
                <a:ln>
                  <a:noFill/>
                </a:ln>
                <a:solidFill>
                  <a:srgbClr val="ECEFEB"/>
                </a:solidFill>
                <a:effectLst/>
                <a:uLnTx/>
                <a:uFillTx/>
                <a:latin typeface="Aileron Regular"/>
                <a:ea typeface="+mn-ea"/>
                <a:cs typeface="+mn-cs"/>
              </a:rPr>
              <a:t>Manage Backup Environment</a:t>
            </a:r>
          </a:p>
          <a:p>
            <a:pPr marL="359851" marR="0" lvl="1" indent="-179926" algn="l" defTabSz="914400" rtl="0" eaLnBrk="1" fontAlgn="auto" latinLnBrk="0" hangingPunct="1">
              <a:lnSpc>
                <a:spcPts val="241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166" normalizeH="0" baseline="0" noProof="0" dirty="0">
                <a:ln>
                  <a:noFill/>
                </a:ln>
                <a:solidFill>
                  <a:srgbClr val="ECEFEB"/>
                </a:solidFill>
                <a:effectLst/>
                <a:uLnTx/>
                <a:uFillTx/>
                <a:latin typeface="Aileron Regular"/>
                <a:ea typeface="+mn-ea"/>
                <a:cs typeface="+mn-cs"/>
              </a:rPr>
              <a:t>Provide 24/7/365 Support</a:t>
            </a:r>
          </a:p>
          <a:p>
            <a:pPr marL="359851" marR="0" lvl="1" indent="-179926" algn="l" defTabSz="914400" rtl="0" eaLnBrk="1" fontAlgn="auto" latinLnBrk="0" hangingPunct="1">
              <a:lnSpc>
                <a:spcPts val="241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pc="166" dirty="0">
                <a:solidFill>
                  <a:srgbClr val="ECEFEB"/>
                </a:solidFill>
                <a:latin typeface="Aileron Regular"/>
              </a:rPr>
              <a:t>Provide Hybrid Cloud Support</a:t>
            </a:r>
          </a:p>
          <a:p>
            <a:pPr marL="359851" marR="0" lvl="1" indent="-179926" algn="l" defTabSz="914400" rtl="0" eaLnBrk="1" fontAlgn="auto" latinLnBrk="0" hangingPunct="1">
              <a:lnSpc>
                <a:spcPts val="241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kumimoji="0" lang="en-US" sz="1800" b="0" i="0" u="none" strike="noStrike" kern="1200" cap="none" spc="166" normalizeH="0" baseline="0" noProof="0" dirty="0">
                <a:ln>
                  <a:noFill/>
                </a:ln>
                <a:solidFill>
                  <a:srgbClr val="ECEFEB"/>
                </a:solidFill>
                <a:effectLst/>
                <a:uLnTx/>
                <a:uFillTx/>
                <a:latin typeface="Aileron Regular"/>
                <a:ea typeface="+mn-ea"/>
                <a:cs typeface="+mn-cs"/>
              </a:rPr>
              <a:t>Support For Multiple Backup Solutions</a:t>
            </a:r>
          </a:p>
          <a:p>
            <a:pPr marL="359851" marR="0" lvl="1" indent="-179926" algn="l" defTabSz="914400" rtl="0" eaLnBrk="1" fontAlgn="auto" latinLnBrk="0" hangingPunct="1">
              <a:lnSpc>
                <a:spcPts val="241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r>
              <a:rPr lang="en-US" spc="166" dirty="0">
                <a:solidFill>
                  <a:srgbClr val="ECEFEB"/>
                </a:solidFill>
                <a:latin typeface="Aileron Regular"/>
              </a:rPr>
              <a:t>Protection From Security Threats</a:t>
            </a:r>
            <a:endParaRPr kumimoji="0" lang="en-US" sz="1800" b="0" i="0" u="none" strike="noStrike" kern="1200" cap="none" spc="166" normalizeH="0" baseline="0" noProof="0" dirty="0">
              <a:ln>
                <a:noFill/>
              </a:ln>
              <a:solidFill>
                <a:srgbClr val="ECEFEB"/>
              </a:solidFill>
              <a:effectLst/>
              <a:uLnTx/>
              <a:uFillTx/>
              <a:latin typeface="Aileron Regular"/>
              <a:ea typeface="+mn-ea"/>
              <a:cs typeface="+mn-cs"/>
            </a:endParaRPr>
          </a:p>
          <a:p>
            <a:pPr marL="359851" marR="0" lvl="1" indent="-179926" algn="l" defTabSz="914400" rtl="0" eaLnBrk="1" fontAlgn="auto" latinLnBrk="0" hangingPunct="1">
              <a:lnSpc>
                <a:spcPts val="2416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/>
            </a:pPr>
            <a:endParaRPr kumimoji="0" lang="en-US" sz="1800" b="0" i="0" u="none" strike="noStrike" kern="1200" cap="none" spc="166" normalizeH="0" baseline="0" noProof="0" dirty="0">
              <a:ln>
                <a:noFill/>
              </a:ln>
              <a:solidFill>
                <a:srgbClr val="ECEFEB"/>
              </a:solidFill>
              <a:effectLst/>
              <a:uLnTx/>
              <a:uFillTx/>
              <a:latin typeface="Aileron Regular"/>
              <a:ea typeface="+mn-ea"/>
              <a:cs typeface="+mn-cs"/>
            </a:endParaRPr>
          </a:p>
        </p:txBody>
      </p:sp>
      <p:pic>
        <p:nvPicPr>
          <p:cNvPr id="16" name="Picture 15" descr="A black and white logo&#10;&#10;Description automatically generated">
            <a:extLst>
              <a:ext uri="{FF2B5EF4-FFF2-40B4-BE49-F238E27FC236}">
                <a16:creationId xmlns:a16="http://schemas.microsoft.com/office/drawing/2014/main" id="{85E2EC3B-B391-FA4E-BFF9-0A0EC658C07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84545" y="6475810"/>
            <a:ext cx="762748" cy="2667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938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0" name="Picture 69" descr="Logo&#10;&#10;Description automatically generated">
            <a:extLst>
              <a:ext uri="{FF2B5EF4-FFF2-40B4-BE49-F238E27FC236}">
                <a16:creationId xmlns:a16="http://schemas.microsoft.com/office/drawing/2014/main" id="{776A923F-7105-76A5-5C60-D1DD65CB9AC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7741" y="234535"/>
            <a:ext cx="2707212" cy="152280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2EAD791C-29DD-4B17-61C6-4001159BDE65}"/>
              </a:ext>
            </a:extLst>
          </p:cNvPr>
          <p:cNvSpPr/>
          <p:nvPr/>
        </p:nvSpPr>
        <p:spPr>
          <a:xfrm>
            <a:off x="442366" y="1547617"/>
            <a:ext cx="2835004" cy="209725"/>
          </a:xfrm>
          <a:prstGeom prst="rect">
            <a:avLst/>
          </a:prstGeom>
          <a:solidFill>
            <a:srgbClr val="389444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 spc="-10">
                <a:solidFill>
                  <a:schemeClr val="bg1"/>
                </a:solidFill>
              </a:rPr>
              <a:t>Identify: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168BA92-DC75-C1B1-A611-0A5DB757FA55}"/>
              </a:ext>
            </a:extLst>
          </p:cNvPr>
          <p:cNvSpPr txBox="1"/>
          <p:nvPr/>
        </p:nvSpPr>
        <p:spPr>
          <a:xfrm>
            <a:off x="442365" y="1755372"/>
            <a:ext cx="2835005" cy="2677656"/>
          </a:xfrm>
          <a:prstGeom prst="rect">
            <a:avLst/>
          </a:prstGeom>
          <a:solidFill>
            <a:srgbClr val="CCFFCC">
              <a:alpha val="20000"/>
            </a:srgbClr>
          </a:solidFill>
        </p:spPr>
        <p:txBody>
          <a:bodyPr wrap="square" rtlCol="0">
            <a:spAutoFit/>
          </a:bodyPr>
          <a:lstStyle/>
          <a:p>
            <a:pPr marL="171450" indent="-171450">
              <a:buBlip>
                <a:blip r:embed="rId3"/>
              </a:buBlip>
            </a:pPr>
            <a:r>
              <a:rPr lang="en-US" sz="1400" spc="-10" dirty="0">
                <a:solidFill>
                  <a:schemeClr val="tx2"/>
                </a:solidFill>
              </a:rPr>
              <a:t>Understand which workloads and data assets need to be protected. </a:t>
            </a:r>
          </a:p>
          <a:p>
            <a:pPr marL="171450" indent="-171450">
              <a:buBlip>
                <a:blip r:embed="rId3"/>
              </a:buBlip>
            </a:pPr>
            <a:r>
              <a:rPr lang="en-US" sz="1400" spc="-10" dirty="0">
                <a:solidFill>
                  <a:schemeClr val="tx2"/>
                </a:solidFill>
              </a:rPr>
              <a:t>Pinpoint challenges and vulnerabilities currently creating risk. </a:t>
            </a:r>
          </a:p>
          <a:p>
            <a:pPr marL="171450" indent="-171450">
              <a:buBlip>
                <a:blip r:embed="rId3"/>
              </a:buBlip>
            </a:pPr>
            <a:r>
              <a:rPr lang="en-US" sz="1400" spc="-10" dirty="0">
                <a:solidFill>
                  <a:schemeClr val="tx2"/>
                </a:solidFill>
              </a:rPr>
              <a:t>Create &amp; continually update a data protection strategy to address those risks while meeting all organizational standards and compliance requirements.</a:t>
            </a:r>
            <a:endParaRPr lang="en-US" sz="1400" spc="-1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D4FE04-94D1-5035-9542-13B545DBBFEF}"/>
              </a:ext>
            </a:extLst>
          </p:cNvPr>
          <p:cNvSpPr/>
          <p:nvPr/>
        </p:nvSpPr>
        <p:spPr>
          <a:xfrm>
            <a:off x="537741" y="4640783"/>
            <a:ext cx="2745065" cy="199582"/>
          </a:xfrm>
          <a:prstGeom prst="rect">
            <a:avLst/>
          </a:prstGeom>
          <a:solidFill>
            <a:srgbClr val="389444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 spc="-10">
                <a:solidFill>
                  <a:schemeClr val="bg1"/>
                </a:solidFill>
              </a:rPr>
              <a:t>Protect: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69EB40-85D9-9151-3CD0-036E22D81A03}"/>
              </a:ext>
            </a:extLst>
          </p:cNvPr>
          <p:cNvSpPr txBox="1"/>
          <p:nvPr/>
        </p:nvSpPr>
        <p:spPr>
          <a:xfrm>
            <a:off x="537741" y="4838395"/>
            <a:ext cx="2739629" cy="1384995"/>
          </a:xfrm>
          <a:prstGeom prst="rect">
            <a:avLst/>
          </a:prstGeom>
          <a:solidFill>
            <a:srgbClr val="CCFFCC">
              <a:alpha val="20000"/>
            </a:srgbClr>
          </a:solidFill>
        </p:spPr>
        <p:txBody>
          <a:bodyPr wrap="square" rtlCol="0">
            <a:spAutoFit/>
          </a:bodyPr>
          <a:lstStyle/>
          <a:p>
            <a:pPr marL="171450" indent="-171450">
              <a:buBlip>
                <a:blip r:embed="rId3"/>
              </a:buBlip>
            </a:pPr>
            <a:r>
              <a:rPr lang="en-US" sz="1400" spc="-10">
                <a:solidFill>
                  <a:schemeClr val="tx2"/>
                </a:solidFill>
              </a:rPr>
              <a:t>Develop and implement our customized solution securing your environment from data loss due to ransomware, malicious attack, corruption, or accidental deletion.</a:t>
            </a:r>
            <a:endParaRPr lang="en-US" sz="1400" spc="-10">
              <a:solidFill>
                <a:schemeClr val="tx2"/>
              </a:solidFill>
              <a:cs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965C668-EA88-34E4-F2A7-3F4A21DA8925}"/>
              </a:ext>
            </a:extLst>
          </p:cNvPr>
          <p:cNvSpPr/>
          <p:nvPr/>
        </p:nvSpPr>
        <p:spPr>
          <a:xfrm>
            <a:off x="3590798" y="385207"/>
            <a:ext cx="2939520" cy="209725"/>
          </a:xfrm>
          <a:prstGeom prst="rect">
            <a:avLst/>
          </a:prstGeom>
          <a:solidFill>
            <a:srgbClr val="389444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 spc="-10">
                <a:solidFill>
                  <a:schemeClr val="bg1"/>
                </a:solidFill>
              </a:rPr>
              <a:t>Detect: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766B224-B4BA-F103-A9BB-1C62B58CE3FB}"/>
              </a:ext>
            </a:extLst>
          </p:cNvPr>
          <p:cNvSpPr txBox="1"/>
          <p:nvPr/>
        </p:nvSpPr>
        <p:spPr>
          <a:xfrm>
            <a:off x="3591255" y="592962"/>
            <a:ext cx="2933627" cy="1384995"/>
          </a:xfrm>
          <a:prstGeom prst="rect">
            <a:avLst/>
          </a:prstGeom>
          <a:solidFill>
            <a:srgbClr val="CCFFCC">
              <a:alpha val="20000"/>
            </a:srgbClr>
          </a:solidFill>
        </p:spPr>
        <p:txBody>
          <a:bodyPr wrap="square" rtlCol="0">
            <a:spAutoFit/>
          </a:bodyPr>
          <a:lstStyle/>
          <a:p>
            <a:pPr marL="171450" indent="-171450">
              <a:buBlip>
                <a:blip r:embed="rId3"/>
              </a:buBlip>
            </a:pPr>
            <a:r>
              <a:rPr lang="en-US" sz="1400" spc="-10" dirty="0">
                <a:solidFill>
                  <a:schemeClr val="tx2"/>
                </a:solidFill>
              </a:rPr>
              <a:t>24x7x365 monitoring by our team leverages proven technology to monitor uptime and scan your data for patterns or anomalies indicating a cybersecurity event is happening.</a:t>
            </a:r>
            <a:endParaRPr lang="en-US" sz="1400" spc="-10" dirty="0">
              <a:solidFill>
                <a:schemeClr val="tx2"/>
              </a:solidFill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8FE27E9-0F19-1B61-2E0E-3DAB5943C943}"/>
              </a:ext>
            </a:extLst>
          </p:cNvPr>
          <p:cNvSpPr/>
          <p:nvPr/>
        </p:nvSpPr>
        <p:spPr>
          <a:xfrm>
            <a:off x="3585361" y="2143113"/>
            <a:ext cx="2939521" cy="209725"/>
          </a:xfrm>
          <a:prstGeom prst="rect">
            <a:avLst/>
          </a:prstGeom>
          <a:solidFill>
            <a:srgbClr val="389444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 spc="-10">
                <a:solidFill>
                  <a:schemeClr val="bg1"/>
                </a:solidFill>
              </a:rPr>
              <a:t>Respond: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1A370D5-D13D-CEB6-8F26-B80ECD49D2ED}"/>
              </a:ext>
            </a:extLst>
          </p:cNvPr>
          <p:cNvSpPr txBox="1"/>
          <p:nvPr/>
        </p:nvSpPr>
        <p:spPr>
          <a:xfrm>
            <a:off x="3585819" y="2350868"/>
            <a:ext cx="2933628" cy="1600438"/>
          </a:xfrm>
          <a:prstGeom prst="rect">
            <a:avLst/>
          </a:prstGeom>
          <a:solidFill>
            <a:srgbClr val="CCFFCC">
              <a:alpha val="20000"/>
            </a:srgbClr>
          </a:solidFill>
        </p:spPr>
        <p:txBody>
          <a:bodyPr wrap="square" rtlCol="0">
            <a:spAutoFit/>
          </a:bodyPr>
          <a:lstStyle/>
          <a:p>
            <a:pPr marL="171450" indent="-171450">
              <a:buBlip>
                <a:blip r:embed="rId3"/>
              </a:buBlip>
            </a:pPr>
            <a:r>
              <a:rPr lang="en-US" sz="1400" spc="-10">
                <a:solidFill>
                  <a:schemeClr val="tx2"/>
                </a:solidFill>
              </a:rPr>
              <a:t>Because we are on call 24x7x365, we will be there when you need us most - when something goes wrong. </a:t>
            </a:r>
          </a:p>
          <a:p>
            <a:pPr marL="171450" indent="-171450">
              <a:buBlip>
                <a:blip r:embed="rId3"/>
              </a:buBlip>
            </a:pPr>
            <a:r>
              <a:rPr lang="en-US" sz="1400" spc="-10">
                <a:solidFill>
                  <a:schemeClr val="tx2"/>
                </a:solidFill>
              </a:rPr>
              <a:t>We pride ourselves on our response time by meeting or exceeding defined SLAs.</a:t>
            </a:r>
            <a:endParaRPr lang="en-US" sz="1400" spc="-10">
              <a:solidFill>
                <a:schemeClr val="tx2"/>
              </a:solidFill>
              <a:cs typeface="Arial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74667FED-3A5F-B754-F7E4-B6529CF20E6C}"/>
              </a:ext>
            </a:extLst>
          </p:cNvPr>
          <p:cNvSpPr/>
          <p:nvPr/>
        </p:nvSpPr>
        <p:spPr>
          <a:xfrm>
            <a:off x="3581672" y="4172468"/>
            <a:ext cx="3072589" cy="209725"/>
          </a:xfrm>
          <a:prstGeom prst="rect">
            <a:avLst/>
          </a:prstGeom>
          <a:solidFill>
            <a:srgbClr val="389444"/>
          </a:solidFill>
          <a:ln w="317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08000" rIns="180000" bIns="108000" rtlCol="0" anchor="ctr"/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 spc="-10">
                <a:solidFill>
                  <a:schemeClr val="bg1"/>
                </a:solidFill>
              </a:rPr>
              <a:t>Recover: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A8D73E1-71B1-C80B-36D1-E80D22EE46AE}"/>
              </a:ext>
            </a:extLst>
          </p:cNvPr>
          <p:cNvSpPr txBox="1"/>
          <p:nvPr/>
        </p:nvSpPr>
        <p:spPr>
          <a:xfrm>
            <a:off x="3582396" y="4380223"/>
            <a:ext cx="3066429" cy="2246769"/>
          </a:xfrm>
          <a:prstGeom prst="rect">
            <a:avLst/>
          </a:prstGeom>
          <a:solidFill>
            <a:srgbClr val="CCFFCC">
              <a:alpha val="20000"/>
            </a:srgbClr>
          </a:solidFill>
        </p:spPr>
        <p:txBody>
          <a:bodyPr wrap="square" rtlCol="0">
            <a:spAutoFit/>
          </a:bodyPr>
          <a:lstStyle/>
          <a:p>
            <a:pPr marL="171450" indent="-171450">
              <a:buBlip>
                <a:blip r:embed="rId3"/>
              </a:buBlip>
            </a:pPr>
            <a:r>
              <a:rPr lang="en-US" sz="1400" spc="-10">
                <a:solidFill>
                  <a:schemeClr val="tx2"/>
                </a:solidFill>
              </a:rPr>
              <a:t>We continuously verify the integrity of your backup data and ensure we have the resources required to restore that data as quickly and efficiently as possible. </a:t>
            </a:r>
          </a:p>
          <a:p>
            <a:pPr marL="171450" indent="-171450">
              <a:buBlip>
                <a:blip r:embed="rId3"/>
              </a:buBlip>
            </a:pPr>
            <a:r>
              <a:rPr lang="en-US" sz="1400" spc="-10">
                <a:solidFill>
                  <a:schemeClr val="tx2"/>
                </a:solidFill>
              </a:rPr>
              <a:t>Throughout the process, we will maintain open lines of communication with your team to minimize the impact on your environment.</a:t>
            </a:r>
            <a:endParaRPr lang="en-US" sz="1400" spc="-10">
              <a:solidFill>
                <a:schemeClr val="tx2"/>
              </a:solidFill>
              <a:cs typeface="Arial"/>
            </a:endParaRPr>
          </a:p>
        </p:txBody>
      </p:sp>
      <p:pic>
        <p:nvPicPr>
          <p:cNvPr id="17" name="Picture 16" descr="Icon&#10;&#10;Description automatically generated">
            <a:extLst>
              <a:ext uri="{FF2B5EF4-FFF2-40B4-BE49-F238E27FC236}">
                <a16:creationId xmlns:a16="http://schemas.microsoft.com/office/drawing/2014/main" id="{F65B587F-BE49-9BEF-DEE1-90A6778D2072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1582" r="21826"/>
          <a:stretch/>
        </p:blipFill>
        <p:spPr>
          <a:xfrm>
            <a:off x="6648824" y="695546"/>
            <a:ext cx="5567999" cy="528150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82C4F54-ECE5-CCC9-3E9F-DDEF794441AB}"/>
              </a:ext>
            </a:extLst>
          </p:cNvPr>
          <p:cNvSpPr txBox="1"/>
          <p:nvPr/>
        </p:nvSpPr>
        <p:spPr>
          <a:xfrm>
            <a:off x="8512229" y="2825227"/>
            <a:ext cx="1841191" cy="91450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lang="en-US" sz="2400" b="1" dirty="0">
                <a:solidFill>
                  <a:srgbClr val="544D5C"/>
                </a:solidFill>
                <a:latin typeface="+mj-lt"/>
              </a:rPr>
              <a:t>IPDS</a:t>
            </a:r>
          </a:p>
          <a:p>
            <a:pPr algn="ct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MDP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750D048-79E1-7709-4748-D575606E08F5}"/>
              </a:ext>
            </a:extLst>
          </p:cNvPr>
          <p:cNvSpPr txBox="1"/>
          <p:nvPr/>
        </p:nvSpPr>
        <p:spPr>
          <a:xfrm rot="2660518">
            <a:off x="9964403" y="1569926"/>
            <a:ext cx="1841191" cy="91450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DENTIF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65AD6AE-EE6A-3637-CE8A-F4E321D8D210}"/>
              </a:ext>
            </a:extLst>
          </p:cNvPr>
          <p:cNvSpPr txBox="1"/>
          <p:nvPr/>
        </p:nvSpPr>
        <p:spPr>
          <a:xfrm rot="18865127">
            <a:off x="10237312" y="3798221"/>
            <a:ext cx="1757078" cy="95828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rgbClr val="544D5C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PROTECT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9A6F998-CA2B-EB43-34E7-3F016AB6ADF5}"/>
              </a:ext>
            </a:extLst>
          </p:cNvPr>
          <p:cNvSpPr txBox="1"/>
          <p:nvPr/>
        </p:nvSpPr>
        <p:spPr>
          <a:xfrm rot="737134">
            <a:off x="8220676" y="4761173"/>
            <a:ext cx="1841191" cy="91450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DETEC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137C61D-7C04-5A98-8049-ECB42CB31A70}"/>
              </a:ext>
            </a:extLst>
          </p:cNvPr>
          <p:cNvSpPr txBox="1"/>
          <p:nvPr/>
        </p:nvSpPr>
        <p:spPr>
          <a:xfrm rot="16002179">
            <a:off x="6617508" y="3062995"/>
            <a:ext cx="1757078" cy="95828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lang="en-US" b="1">
                <a:solidFill>
                  <a:schemeClr val="bg1"/>
                </a:solidFill>
                <a:latin typeface="+mj-lt"/>
              </a:rPr>
              <a:t>RESPOND</a:t>
            </a:r>
            <a:endParaRPr kumimoji="0" lang="en-US" b="1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8193082-0611-749B-E73B-074B46580969}"/>
              </a:ext>
            </a:extLst>
          </p:cNvPr>
          <p:cNvSpPr txBox="1"/>
          <p:nvPr/>
        </p:nvSpPr>
        <p:spPr>
          <a:xfrm rot="19997848">
            <a:off x="7578672" y="1209899"/>
            <a:ext cx="1841191" cy="914502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>
              <a:spcAft>
                <a:spcPts val="600"/>
              </a:spcAft>
              <a:buClr>
                <a:srgbClr val="3F74CB"/>
              </a:buClr>
              <a:buSzPct val="150000"/>
              <a:tabLst>
                <a:tab pos="442913" algn="l"/>
              </a:tabLst>
            </a:pPr>
            <a:r>
              <a:rPr kumimoji="0" lang="en-US" b="1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RECOVER</a:t>
            </a:r>
          </a:p>
        </p:txBody>
      </p:sp>
    </p:spTree>
    <p:extLst>
      <p:ext uri="{BB962C8B-B14F-4D97-AF65-F5344CB8AC3E}">
        <p14:creationId xmlns:p14="http://schemas.microsoft.com/office/powerpoint/2010/main" val="738240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6" grpId="0" animBg="1"/>
      <p:bldP spid="7" grpId="0" animBg="1"/>
      <p:bldP spid="8" grpId="0" animBg="1"/>
      <p:bldP spid="9" grpId="0" animBg="1"/>
      <p:bldP spid="12" grpId="0" animBg="1"/>
      <p:bldP spid="13" grpId="0" animBg="1"/>
      <p:bldP spid="14" grpId="0" animBg="1"/>
      <p:bldP spid="15" grpId="0" animBg="1"/>
      <p:bldP spid="19" grpId="0"/>
      <p:bldP spid="20" grpId="0"/>
      <p:bldP spid="21" grpId="0"/>
      <p:bldP spid="22" grpId="0"/>
      <p:bldP spid="2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background with green text and green leaves&#10;&#10;Description automatically generated">
            <a:extLst>
              <a:ext uri="{FF2B5EF4-FFF2-40B4-BE49-F238E27FC236}">
                <a16:creationId xmlns:a16="http://schemas.microsoft.com/office/drawing/2014/main" id="{3D161E78-78D8-0D95-2108-4264179134D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168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DESIGN_ID_COMMVAULT TEMPLATE" val="MchLNNLw"/>
  <p:tag name="BRANDIN_RULES" val="RUN RULES"/>
  <p:tag name="BRANDIN_SMARTPASTE" val="ACTIVE"/>
  <p:tag name="BRANDIN_CONFIG" val="COMMVAULT1.INI"/>
  <p:tag name="BRANDIN_WORKSPACE_NAME" val="Commvault"/>
  <p:tag name="ARTICULATE_PROJECT_OPEN" val="0"/>
  <p:tag name="ARTICULATE_SLIDE_COUNT" val="7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6l_5MrA3sV8yIaT4cJ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6l_5MrA3sV8yIaT4cJ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6l_5MrA3sV8yIaT4cJ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6l_5MrA3sV8yIaT4cJ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6l_5MrA3sV8yIaT4cJ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6l_5MrA3sV8yIaT4cJ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6l_5MrA3sV8yIaT4cJ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6l_5MrA3sV8yIaT4cJ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ANDIN_SLIDE_MASTER_SETTINGS_FILE" val="Commvault1.ini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6l_5MrA3sV8yIaT4c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v6l_5MrA3sV8yIaT4cJ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DYp.PZZQAri7opbagzB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KkunvCdqhYKsxHG58H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IPDS Template">
  <a:themeElements>
    <a:clrScheme name="IPDS Theme2">
      <a:dk1>
        <a:srgbClr val="111314"/>
      </a:dk1>
      <a:lt1>
        <a:srgbClr val="FFFFFF"/>
      </a:lt1>
      <a:dk2>
        <a:srgbClr val="111314"/>
      </a:dk2>
      <a:lt2>
        <a:srgbClr val="DFDFDF"/>
      </a:lt2>
      <a:accent1>
        <a:srgbClr val="258958"/>
      </a:accent1>
      <a:accent2>
        <a:srgbClr val="55B74E"/>
      </a:accent2>
      <a:accent3>
        <a:srgbClr val="A7E7B8"/>
      </a:accent3>
      <a:accent4>
        <a:srgbClr val="E0FFE8"/>
      </a:accent4>
      <a:accent5>
        <a:srgbClr val="F4F8FB"/>
      </a:accent5>
      <a:accent6>
        <a:srgbClr val="DADFE9"/>
      </a:accent6>
      <a:hlink>
        <a:srgbClr val="4567F0"/>
      </a:hlink>
      <a:folHlink>
        <a:srgbClr val="4567F0"/>
      </a:folHlink>
    </a:clrScheme>
    <a:fontScheme name="Bierstadt">
      <a:majorFont>
        <a:latin typeface="Bierstadt"/>
        <a:ea typeface=""/>
        <a:cs typeface=""/>
      </a:majorFont>
      <a:minorFont>
        <a:latin typeface="Bierstad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3175">
          <a:noFill/>
        </a:ln>
        <a:effectLst/>
      </a:spPr>
      <a:bodyPr lIns="180000" tIns="108000" rIns="180000" bIns="108000" rtlCol="0" anchor="ctr"/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sz="1400" spc="-1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2"/>
          </a:solidFill>
        </a:ln>
      </a:spPr>
      <a:bodyPr/>
      <a:lstStyle/>
      <a:style>
        <a:lnRef idx="1">
          <a:schemeClr val="dk1"/>
        </a:lnRef>
        <a:fillRef idx="0">
          <a:schemeClr val="dk1"/>
        </a:fillRef>
        <a:effectRef idx="0">
          <a:schemeClr val="dk1"/>
        </a:effectRef>
        <a:fontRef idx="minor">
          <a:schemeClr val="tx1"/>
        </a:fontRef>
      </a:style>
    </a:lnDef>
    <a:txDef>
      <a:spPr/>
      <a:bodyPr vert="horz" wrap="square" lIns="0" tIns="0" rIns="0" bIns="0" rtlCol="0" anchor="ctr">
        <a:noAutofit/>
      </a:bodyPr>
      <a:lstStyle>
        <a:defPPr algn="l">
          <a:spcAft>
            <a:spcPts val="600"/>
          </a:spcAft>
          <a:buClr>
            <a:srgbClr val="3F74CB"/>
          </a:buClr>
          <a:buSzPct val="150000"/>
          <a:tabLst>
            <a:tab pos="442913" algn="l"/>
          </a:tabLst>
          <a:defRPr kumimoji="0" sz="1400" b="0" i="0" u="none" strike="noStrike" kern="1200" cap="none" spc="0" normalizeH="0" baseline="0" noProof="0" dirty="0" err="1" smtClean="0">
            <a:ln>
              <a:noFill/>
            </a:ln>
            <a:solidFill>
              <a:srgbClr val="544D5C"/>
            </a:solidFill>
            <a:effectLst/>
            <a:uLnTx/>
            <a:uFillTx/>
            <a:latin typeface="Arial"/>
            <a:ea typeface="+mn-ea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e34cb89c-fec3-47f2-b8e9-6d06a46a44d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2E089BA1CE10047842D656D5F8A2C8C" ma:contentTypeVersion="8" ma:contentTypeDescription="Create a new document." ma:contentTypeScope="" ma:versionID="f7258dd74a6749a100d7da09b15d0e98">
  <xsd:schema xmlns:xsd="http://www.w3.org/2001/XMLSchema" xmlns:xs="http://www.w3.org/2001/XMLSchema" xmlns:p="http://schemas.microsoft.com/office/2006/metadata/properties" xmlns:ns3="e34cb89c-fec3-47f2-b8e9-6d06a46a44df" xmlns:ns4="26857e34-4e11-4481-a5ac-0ec0cb15fc4e" targetNamespace="http://schemas.microsoft.com/office/2006/metadata/properties" ma:root="true" ma:fieldsID="84b4717b870168ccf061768d388dc05f" ns3:_="" ns4:_="">
    <xsd:import namespace="e34cb89c-fec3-47f2-b8e9-6d06a46a44df"/>
    <xsd:import namespace="26857e34-4e11-4481-a5ac-0ec0cb15fc4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_activity" minOccurs="0"/>
                <xsd:element ref="ns3:MediaServiceSearchPropertie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4cb89c-fec3-47f2-b8e9-6d06a46a44d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_activity" ma:index="11" nillable="true" ma:displayName="_activity" ma:hidden="true" ma:internalName="_activity">
      <xsd:simpleType>
        <xsd:restriction base="dms:Note"/>
      </xsd:simpleType>
    </xsd:element>
    <xsd:element name="MediaServiceSearchProperties" ma:index="1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6857e34-4e11-4481-a5ac-0ec0cb15fc4e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5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4AC120F4-542E-4720-8607-29B9907F3EE5}">
  <ds:schemaRefs>
    <ds:schemaRef ds:uri="http://purl.org/dc/elements/1.1/"/>
    <ds:schemaRef ds:uri="http://purl.org/dc/dcmitype/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26857e34-4e11-4481-a5ac-0ec0cb15fc4e"/>
    <ds:schemaRef ds:uri="e34cb89c-fec3-47f2-b8e9-6d06a46a44df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C8673AC-D869-4FEE-9412-BD1154CBFCD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C7AAF86-D1E3-4BF1-BA57-0797A911F5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4cb89c-fec3-47f2-b8e9-6d06a46a44df"/>
    <ds:schemaRef ds:uri="26857e34-4e11-4481-a5ac-0ec0cb15fc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444</TotalTime>
  <Words>705</Words>
  <Application>Microsoft Office PowerPoint</Application>
  <PresentationFormat>Widescreen</PresentationFormat>
  <Paragraphs>147</Paragraphs>
  <Slides>10</Slides>
  <Notes>3</Notes>
  <HiddenSlides>0</HiddenSlides>
  <MMClips>0</MMClips>
  <ScaleCrop>false</ScaleCrop>
  <HeadingPairs>
    <vt:vector size="10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  <vt:variant>
        <vt:lpstr>Custom Shows</vt:lpstr>
      </vt:variant>
      <vt:variant>
        <vt:i4>2</vt:i4>
      </vt:variant>
    </vt:vector>
  </HeadingPairs>
  <TitlesOfParts>
    <vt:vector size="22" baseType="lpstr">
      <vt:lpstr>Aileron Regular</vt:lpstr>
      <vt:lpstr>Aileron Regular Bold</vt:lpstr>
      <vt:lpstr>Arial</vt:lpstr>
      <vt:lpstr>Bierstadt</vt:lpstr>
      <vt:lpstr>Calibri</vt:lpstr>
      <vt:lpstr>Roboto</vt:lpstr>
      <vt:lpstr>Roboto Condensed Bold</vt:lpstr>
      <vt:lpstr>Wingdings</vt:lpstr>
      <vt:lpstr>IPDS Template</vt:lpstr>
      <vt:lpstr>think-cell Slide</vt:lpstr>
      <vt:lpstr>2024 Corporate Overview</vt:lpstr>
      <vt:lpstr>PowerPoint Presentation</vt:lpstr>
      <vt:lpstr>Our Focus</vt:lpstr>
      <vt:lpstr>Strategic OEM Relationship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10 minute version</vt:lpstr>
      <vt:lpstr>5 Min Vers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Charlotte Shutes</dc:creator>
  <cp:keywords/>
  <dc:description/>
  <cp:lastModifiedBy>Ben Faraone</cp:lastModifiedBy>
  <cp:revision>13</cp:revision>
  <dcterms:created xsi:type="dcterms:W3CDTF">2020-10-06T12:50:55Z</dcterms:created>
  <dcterms:modified xsi:type="dcterms:W3CDTF">2024-04-03T12:32:18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2E089BA1CE10047842D656D5F8A2C8C</vt:lpwstr>
  </property>
  <property fmtid="{D5CDD505-2E9C-101B-9397-08002B2CF9AE}" pid="3" name="ArticulateGUID">
    <vt:lpwstr>47E035AA-C922-4FDA-BCD5-A26097F8443D</vt:lpwstr>
  </property>
  <property fmtid="{D5CDD505-2E9C-101B-9397-08002B2CF9AE}" pid="4" name="ArticulatePath">
    <vt:lpwstr>https://brightcarbon.sharepoint.com/sites/Intranet/Projects/ABCD/Commvault/COMV 5330 Template and Toolkit/Commvault Template v2</vt:lpwstr>
  </property>
  <property fmtid="{D5CDD505-2E9C-101B-9397-08002B2CF9AE}" pid="5" name="MediaServiceImageTags">
    <vt:lpwstr/>
  </property>
</Properties>
</file>